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0" r:id="rId5"/>
    <p:sldMasterId id="2147483724" r:id="rId6"/>
    <p:sldMasterId id="2147483737" r:id="rId7"/>
    <p:sldMasterId id="2147483749" r:id="rId8"/>
  </p:sldMasterIdLst>
  <p:notesMasterIdLst>
    <p:notesMasterId r:id="rId16"/>
  </p:notesMasterIdLst>
  <p:handoutMasterIdLst>
    <p:handoutMasterId r:id="rId17"/>
  </p:handoutMasterIdLst>
  <p:sldIdLst>
    <p:sldId id="300" r:id="rId9"/>
    <p:sldId id="315" r:id="rId10"/>
    <p:sldId id="312" r:id="rId11"/>
    <p:sldId id="316" r:id="rId12"/>
    <p:sldId id="314" r:id="rId13"/>
    <p:sldId id="311" r:id="rId14"/>
    <p:sldId id="313" r:id="rId15"/>
  </p:sldIdLst>
  <p:sldSz cx="9144000" cy="5143500" type="screen16x9"/>
  <p:notesSz cx="6742113" cy="9872663"/>
  <p:defaultTextStyle>
    <a:defPPr>
      <a:defRPr lang="nl-NL"/>
    </a:defPPr>
    <a:lvl1pPr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2200"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8">
          <p15:clr>
            <a:srgbClr val="A4A3A4"/>
          </p15:clr>
        </p15:guide>
        <p15:guide id="2" orient="horz" pos="3208">
          <p15:clr>
            <a:srgbClr val="A4A3A4"/>
          </p15:clr>
        </p15:guide>
        <p15:guide id="3" pos="5284" userDrawn="1">
          <p15:clr>
            <a:srgbClr val="A4A3A4"/>
          </p15:clr>
        </p15:guide>
        <p15:guide id="4" pos="476" userDrawn="1">
          <p15:clr>
            <a:srgbClr val="A4A3A4"/>
          </p15:clr>
        </p15:guide>
        <p15:guide id="5" orient="horz" pos="622" userDrawn="1">
          <p15:clr>
            <a:srgbClr val="A4A3A4"/>
          </p15:clr>
        </p15:guide>
        <p15:guide id="6" orient="horz" pos="2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rn, Martijn" initials="KM" lastIdx="2" clrIdx="0">
    <p:extLst>
      <p:ext uri="{19B8F6BF-5375-455C-9EA6-DF929625EA0E}">
        <p15:presenceInfo xmlns:p15="http://schemas.microsoft.com/office/powerpoint/2012/main" userId="S-1-5-21-3563634919-649432801-734029875-5866" providerId="AD"/>
      </p:ext>
    </p:extLst>
  </p:cmAuthor>
  <p:cmAuthor id="2" name="Noom, Maarten" initials="NM" lastIdx="1" clrIdx="1">
    <p:extLst>
      <p:ext uri="{19B8F6BF-5375-455C-9EA6-DF929625EA0E}">
        <p15:presenceInfo xmlns:p15="http://schemas.microsoft.com/office/powerpoint/2012/main" userId="S-1-5-21-3563634919-649432801-734029875-7530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5D63"/>
    <a:srgbClr val="BDDB00"/>
    <a:srgbClr val="DE0073"/>
    <a:srgbClr val="FFFFFF"/>
    <a:srgbClr val="5350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jl, gemiddel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85553" autoAdjust="0"/>
  </p:normalViewPr>
  <p:slideViewPr>
    <p:cSldViewPr>
      <p:cViewPr varScale="1">
        <p:scale>
          <a:sx n="125" d="100"/>
          <a:sy n="125" d="100"/>
        </p:scale>
        <p:origin x="1488" y="96"/>
      </p:cViewPr>
      <p:guideLst>
        <p:guide orient="horz" pos="418"/>
        <p:guide orient="horz" pos="3208"/>
        <p:guide pos="5284"/>
        <p:guide pos="476"/>
        <p:guide orient="horz" pos="622"/>
        <p:guide orient="horz" pos="2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137" d="100"/>
          <a:sy n="137" d="100"/>
        </p:scale>
        <p:origin x="-3592" y="-112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22" Type="http://schemas.openxmlformats.org/officeDocument/2006/relationships/tableStyles" Target="tableStyles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ijkenboom, Dave" userId="aa3b0ed5-de5f-4f7b-8dc7-27888198165f" providerId="ADAL" clId="{D74599FE-0590-490C-B805-D3ECFB26CEC4}"/>
    <pc:docChg chg="modSld">
      <pc:chgData name="Eijkenboom, Dave" userId="aa3b0ed5-de5f-4f7b-8dc7-27888198165f" providerId="ADAL" clId="{D74599FE-0590-490C-B805-D3ECFB26CEC4}" dt="2024-09-19T13:43:44.574" v="4" actId="20577"/>
      <pc:docMkLst>
        <pc:docMk/>
      </pc:docMkLst>
      <pc:sldChg chg="modNotesTx">
        <pc:chgData name="Eijkenboom, Dave" userId="aa3b0ed5-de5f-4f7b-8dc7-27888198165f" providerId="ADAL" clId="{D74599FE-0590-490C-B805-D3ECFB26CEC4}" dt="2024-09-19T13:43:40.811" v="3" actId="20577"/>
        <pc:sldMkLst>
          <pc:docMk/>
          <pc:sldMk cId="2063626756" sldId="311"/>
        </pc:sldMkLst>
      </pc:sldChg>
      <pc:sldChg chg="modNotesTx">
        <pc:chgData name="Eijkenboom, Dave" userId="aa3b0ed5-de5f-4f7b-8dc7-27888198165f" providerId="ADAL" clId="{D74599FE-0590-490C-B805-D3ECFB26CEC4}" dt="2024-09-19T13:43:44.574" v="4" actId="20577"/>
        <pc:sldMkLst>
          <pc:docMk/>
          <pc:sldMk cId="3018169318" sldId="313"/>
        </pc:sldMkLst>
      </pc:sldChg>
      <pc:sldChg chg="modNotesTx">
        <pc:chgData name="Eijkenboom, Dave" userId="aa3b0ed5-de5f-4f7b-8dc7-27888198165f" providerId="ADAL" clId="{D74599FE-0590-490C-B805-D3ECFB26CEC4}" dt="2024-09-19T13:43:37.223" v="2" actId="5793"/>
        <pc:sldMkLst>
          <pc:docMk/>
          <pc:sldMk cId="1381403273" sldId="314"/>
        </pc:sldMkLst>
      </pc:sldChg>
      <pc:sldChg chg="modNotesTx">
        <pc:chgData name="Eijkenboom, Dave" userId="aa3b0ed5-de5f-4f7b-8dc7-27888198165f" providerId="ADAL" clId="{D74599FE-0590-490C-B805-D3ECFB26CEC4}" dt="2024-09-19T13:43:29.319" v="0" actId="20577"/>
        <pc:sldMkLst>
          <pc:docMk/>
          <pc:sldMk cId="154128845" sldId="31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353508" y="8979131"/>
            <a:ext cx="1168055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 algn="l"/>
            <a:endParaRPr lang="nl-NL" sz="800" dirty="0">
              <a:latin typeface="Arial"/>
            </a:endParaRPr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68618" y="9006287"/>
            <a:ext cx="778703" cy="466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 algn="l"/>
            <a:fld id="{D047E3ED-2B09-4094-8886-B8E97A671F17}" type="slidenum">
              <a:rPr lang="nl-NL" sz="800">
                <a:latin typeface="Arial"/>
              </a:rPr>
              <a:pPr algn="l"/>
              <a:t>‹nr.›</a:t>
            </a:fld>
            <a:endParaRPr lang="nl-NL" sz="8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56985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55419" y="193817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>
                <a:latin typeface="Arial" charset="0"/>
              </a:defRPr>
            </a:lvl1pPr>
          </a:lstStyle>
          <a:p>
            <a:endParaRPr lang="nl-NL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399441" y="193817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charset="0"/>
              </a:defRPr>
            </a:lvl1pPr>
          </a:lstStyle>
          <a:p>
            <a:endParaRPr lang="nl-NL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7150" y="768350"/>
            <a:ext cx="6580188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97826" y="4584613"/>
            <a:ext cx="5946461" cy="4442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de opmaakprofielen van de </a:t>
            </a:r>
            <a:r>
              <a:rPr lang="nl-NL" dirty="0" err="1"/>
              <a:t>modeltekst</a:t>
            </a:r>
            <a:r>
              <a:rPr lang="nl-NL" dirty="0"/>
              <a:t>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97826" y="9107467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Arial" charset="0"/>
              </a:defRPr>
            </a:lvl1pPr>
          </a:lstStyle>
          <a:p>
            <a:endParaRPr lang="nl-NL" dirty="0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441848" y="9107467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" charset="0"/>
              </a:defRPr>
            </a:lvl1pPr>
          </a:lstStyle>
          <a:p>
            <a:fld id="{CF653753-29AE-4E98-839C-49F914A0CCA7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377118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2254250" y="533400"/>
            <a:ext cx="4572000" cy="257175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653753-29AE-4E98-839C-49F914A0CCA7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5386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653753-29AE-4E98-839C-49F914A0CCA7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004332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653753-29AE-4E98-839C-49F914A0CCA7}" type="slidenum">
              <a:rPr lang="nl-NL" smtClean="0"/>
              <a:pPr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51197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653753-29AE-4E98-839C-49F914A0CCA7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55199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653753-29AE-4E98-839C-49F914A0CCA7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18897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653753-29AE-4E98-839C-49F914A0CCA7}" type="slidenum">
              <a:rPr lang="nl-NL" smtClean="0"/>
              <a:pPr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56519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653753-29AE-4E98-839C-49F914A0CCA7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59732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51520" y="2931791"/>
            <a:ext cx="5689600" cy="720725"/>
          </a:xfrm>
          <a:prstGeom prst="rect">
            <a:avLst/>
          </a:prstGeom>
        </p:spPr>
        <p:txBody>
          <a:bodyPr vert="horz" anchor="ctr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Titel invoeren</a:t>
            </a: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3867150"/>
            <a:ext cx="2017714" cy="360784"/>
          </a:xfrm>
          <a:prstGeom prst="rect">
            <a:avLst/>
          </a:prstGeom>
        </p:spPr>
        <p:txBody>
          <a:bodyPr vert="horz" anchor="ctr"/>
          <a:lstStyle>
            <a:lvl1pPr>
              <a:defRPr sz="1600" b="1">
                <a:solidFill>
                  <a:srgbClr val="635D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Naam invoere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553" y="2139058"/>
            <a:ext cx="5689600" cy="720725"/>
          </a:xfrm>
          <a:prstGeom prst="rect">
            <a:avLst/>
          </a:prstGeom>
        </p:spPr>
        <p:txBody>
          <a:bodyPr vert="horz" anchor="ctr"/>
          <a:lstStyle>
            <a:lvl1pPr>
              <a:defRPr sz="28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Titel invoeren</a:t>
            </a:r>
          </a:p>
        </p:txBody>
      </p:sp>
      <p:sp>
        <p:nvSpPr>
          <p:cNvPr id="15" name="Tijdelijke aanduiding vo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1520" y="4299942"/>
            <a:ext cx="2017714" cy="216024"/>
          </a:xfrm>
          <a:prstGeom prst="rect">
            <a:avLst/>
          </a:prstGeom>
        </p:spPr>
        <p:txBody>
          <a:bodyPr vert="horz" anchor="ctr"/>
          <a:lstStyle>
            <a:lvl1pPr>
              <a:defRPr sz="1400" b="0">
                <a:solidFill>
                  <a:srgbClr val="635D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Datum invoeren</a:t>
            </a:r>
          </a:p>
        </p:txBody>
      </p:sp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3799490"/>
            <a:ext cx="2520280" cy="121692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media 4"/>
          <p:cNvSpPr>
            <a:spLocks noGrp="1"/>
          </p:cNvSpPr>
          <p:nvPr>
            <p:ph type="media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/>
              <a:t>Klik op het pictogram als u media wilt toevoegen</a:t>
            </a:r>
            <a:endParaRPr lang="nl-NL" dirty="0"/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7" name="Afbeelding 6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576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beeldmerk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8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4158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51520" y="2931791"/>
            <a:ext cx="5689600" cy="720725"/>
          </a:xfrm>
          <a:prstGeom prst="rect">
            <a:avLst/>
          </a:prstGeom>
        </p:spPr>
        <p:txBody>
          <a:bodyPr vert="horz" anchor="ctr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Titel invoeren</a:t>
            </a: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3867150"/>
            <a:ext cx="2017714" cy="360784"/>
          </a:xfrm>
          <a:prstGeom prst="rect">
            <a:avLst/>
          </a:prstGeom>
        </p:spPr>
        <p:txBody>
          <a:bodyPr vert="horz" anchor="ctr"/>
          <a:lstStyle>
            <a:lvl1pPr>
              <a:defRPr sz="1600" b="1">
                <a:solidFill>
                  <a:srgbClr val="635D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Naam invoere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553" y="2139058"/>
            <a:ext cx="5689600" cy="720725"/>
          </a:xfrm>
          <a:prstGeom prst="rect">
            <a:avLst/>
          </a:prstGeom>
        </p:spPr>
        <p:txBody>
          <a:bodyPr vert="horz" anchor="ctr"/>
          <a:lstStyle>
            <a:lvl1pPr>
              <a:defRPr sz="28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Titel invoeren</a:t>
            </a:r>
          </a:p>
        </p:txBody>
      </p:sp>
      <p:sp>
        <p:nvSpPr>
          <p:cNvPr id="15" name="Tijdelijke aanduiding vo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1520" y="4299942"/>
            <a:ext cx="2017714" cy="216024"/>
          </a:xfrm>
          <a:prstGeom prst="rect">
            <a:avLst/>
          </a:prstGeom>
        </p:spPr>
        <p:txBody>
          <a:bodyPr vert="horz" anchor="ctr"/>
          <a:lstStyle>
            <a:lvl1pPr>
              <a:defRPr sz="1400" b="0">
                <a:solidFill>
                  <a:srgbClr val="635D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Datum invoeren</a:t>
            </a:r>
          </a:p>
        </p:txBody>
      </p:sp>
      <p:pic>
        <p:nvPicPr>
          <p:cNvPr id="17" name="Afbeelding 16" descr="ENEXIS Normaal FC C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7" y="4155926"/>
            <a:ext cx="2065468" cy="78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5582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8" name="Afbeelding 7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5" name="Tijdelijke aanduiding voor tekst 4"/>
          <p:cNvSpPr>
            <a:spLocks noGrp="1"/>
          </p:cNvSpPr>
          <p:nvPr>
            <p:ph type="body" sz="quarter" idx="10"/>
          </p:nvPr>
        </p:nvSpPr>
        <p:spPr>
          <a:xfrm>
            <a:off x="684213" y="1131888"/>
            <a:ext cx="8135937" cy="3168650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635D63"/>
                </a:solidFill>
                <a:latin typeface="Arial"/>
              </a:defRPr>
            </a:lvl1pPr>
            <a:lvl2pPr>
              <a:defRPr>
                <a:solidFill>
                  <a:srgbClr val="635D63"/>
                </a:solidFill>
              </a:defRPr>
            </a:lvl2pPr>
            <a:lvl3pPr>
              <a:defRPr>
                <a:solidFill>
                  <a:srgbClr val="635D63"/>
                </a:solidFill>
              </a:defRPr>
            </a:lvl3pPr>
            <a:lvl4pPr>
              <a:defRPr>
                <a:solidFill>
                  <a:srgbClr val="635D63"/>
                </a:solidFill>
              </a:defRPr>
            </a:lvl4pPr>
            <a:lvl5pPr>
              <a:defRPr>
                <a:solidFill>
                  <a:srgbClr val="635D63"/>
                </a:solidFill>
              </a:defRPr>
            </a:lvl5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13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3297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3816425" cy="3321844"/>
          </a:xfrm>
          <a:prstGeom prst="rect">
            <a:avLst/>
          </a:prstGeom>
        </p:spPr>
        <p:txBody>
          <a:bodyPr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 sz="14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/>
            </a:pPr>
            <a:r>
              <a:rPr lang="nl-NL" dirty="0"/>
              <a:t>Klik om de tekststijl van het model te bewerken</a:t>
            </a:r>
          </a:p>
          <a:p>
            <a:pPr lvl="0"/>
            <a:endParaRPr lang="nl-NL" dirty="0"/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2"/>
          </p:nvPr>
        </p:nvSpPr>
        <p:spPr>
          <a:xfrm>
            <a:off x="5004048" y="1140621"/>
            <a:ext cx="3816102" cy="3321844"/>
          </a:xfrm>
          <a:prstGeom prst="rect">
            <a:avLst/>
          </a:prstGeom>
        </p:spPr>
        <p:txBody>
          <a:bodyPr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 sz="14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 dirty="0"/>
              <a:t>Klik om de tekststijl van het model te bewerken</a:t>
            </a:r>
          </a:p>
          <a:p>
            <a:pPr lvl="0"/>
            <a:endParaRPr lang="nl-NL" dirty="0"/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8" name="Afbeelding 7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9848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opsommings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solidFill>
                  <a:schemeClr val="tx2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0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00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00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00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pic>
        <p:nvPicPr>
          <p:cNvPr id="8" name="Afbeelding 7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2" name="Afbeelding 1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106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 met opsommings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3812233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jdelijke aanduiding voor tekst 5"/>
          <p:cNvSpPr>
            <a:spLocks noGrp="1"/>
          </p:cNvSpPr>
          <p:nvPr>
            <p:ph type="body" sz="quarter" idx="12"/>
          </p:nvPr>
        </p:nvSpPr>
        <p:spPr>
          <a:xfrm>
            <a:off x="4860032" y="1140621"/>
            <a:ext cx="3960117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pic>
        <p:nvPicPr>
          <p:cNvPr id="10" name="Afbeelding 9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9" name="Afbeelding 8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2259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/>
          <p:cNvSpPr>
            <a:spLocks noGrp="1"/>
          </p:cNvSpPr>
          <p:nvPr>
            <p:ph type="pic" sz="quarter" idx="11"/>
          </p:nvPr>
        </p:nvSpPr>
        <p:spPr>
          <a:xfrm>
            <a:off x="683569" y="1140621"/>
            <a:ext cx="8136581" cy="3321843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afbeelding wilt toevoegen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1358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2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/>
          <p:cNvSpPr>
            <a:spLocks noGrp="1"/>
          </p:cNvSpPr>
          <p:nvPr>
            <p:ph type="pic" sz="quarter" idx="11"/>
          </p:nvPr>
        </p:nvSpPr>
        <p:spPr>
          <a:xfrm>
            <a:off x="683569" y="1140621"/>
            <a:ext cx="3888432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6" name="Tijdelijke aanduiding voor afbeelding 4"/>
          <p:cNvSpPr>
            <a:spLocks noGrp="1"/>
          </p:cNvSpPr>
          <p:nvPr>
            <p:ph type="pic" sz="quarter" idx="12"/>
          </p:nvPr>
        </p:nvSpPr>
        <p:spPr>
          <a:xfrm>
            <a:off x="4932039" y="1140621"/>
            <a:ext cx="3888110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afbeelding wilt toevoegen</a:t>
            </a:r>
          </a:p>
        </p:txBody>
      </p:sp>
      <p:pic>
        <p:nvPicPr>
          <p:cNvPr id="13" name="Afbeelding 12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7" name="Afbeelding 6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969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abel 4"/>
          <p:cNvSpPr>
            <a:spLocks noGrp="1"/>
          </p:cNvSpPr>
          <p:nvPr>
            <p:ph type="tbl" sz="quarter" idx="11"/>
          </p:nvPr>
        </p:nvSpPr>
        <p:spPr>
          <a:xfrm>
            <a:off x="683568" y="1140621"/>
            <a:ext cx="8136587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tabel wilt toevoegen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850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8" name="Afbeelding 7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5" name="Tijdelijke aanduiding voor tekst 4"/>
          <p:cNvSpPr>
            <a:spLocks noGrp="1"/>
          </p:cNvSpPr>
          <p:nvPr>
            <p:ph type="body" sz="quarter" idx="10"/>
          </p:nvPr>
        </p:nvSpPr>
        <p:spPr>
          <a:xfrm>
            <a:off x="684213" y="1131888"/>
            <a:ext cx="8135937" cy="3168650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535053"/>
                </a:solidFill>
                <a:latin typeface="Arial"/>
              </a:defRPr>
            </a:lvl1pPr>
            <a:lvl2pPr>
              <a:defRPr>
                <a:solidFill>
                  <a:srgbClr val="635D63"/>
                </a:solidFill>
              </a:defRPr>
            </a:lvl2pPr>
            <a:lvl3pPr>
              <a:defRPr>
                <a:solidFill>
                  <a:srgbClr val="635D63"/>
                </a:solidFill>
              </a:defRPr>
            </a:lvl3pPr>
            <a:lvl4pPr>
              <a:defRPr>
                <a:solidFill>
                  <a:srgbClr val="635D63"/>
                </a:solidFill>
              </a:defRPr>
            </a:lvl4pPr>
            <a:lvl5pPr>
              <a:defRPr>
                <a:solidFill>
                  <a:srgbClr val="635D63"/>
                </a:solidFill>
              </a:defRPr>
            </a:lvl5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3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3942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grafiek 4"/>
          <p:cNvSpPr>
            <a:spLocks noGrp="1"/>
          </p:cNvSpPr>
          <p:nvPr>
            <p:ph type="chart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grafiek wilt toevoegen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4004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media 4"/>
          <p:cNvSpPr>
            <a:spLocks noGrp="1"/>
          </p:cNvSpPr>
          <p:nvPr>
            <p:ph type="media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media wilt toevoegen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4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7" name="Afbeelding 6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3520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beeldmerk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8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6993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113110"/>
            <a:ext cx="8135938" cy="741759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971550"/>
            <a:ext cx="8115300" cy="3427810"/>
          </a:xfrm>
          <a:prstGeom prst="rect">
            <a:avLst/>
          </a:prstGeom>
        </p:spPr>
        <p:txBody>
          <a:bodyPr/>
          <a:lstStyle>
            <a:lvl1pPr>
              <a:buSzPct val="60000"/>
              <a:defRPr sz="2400"/>
            </a:lvl1pPr>
            <a:lvl2pPr marL="609600" indent="-304800">
              <a:lnSpc>
                <a:spcPct val="100000"/>
              </a:lnSpc>
              <a:buSzPct val="120000"/>
              <a:buFont typeface="Arial" pitchFamily="34" charset="0"/>
              <a:buChar char="•"/>
              <a:defRPr sz="2000"/>
            </a:lvl2pPr>
            <a:lvl3pPr marL="914400" indent="-304800">
              <a:lnSpc>
                <a:spcPct val="100000"/>
              </a:lnSpc>
              <a:buFont typeface="Courier New" pitchFamily="49" charset="0"/>
              <a:buChar char="o"/>
              <a:defRPr sz="1400"/>
            </a:lvl3pPr>
            <a:lvl4pPr marL="1219200" indent="-304800">
              <a:lnSpc>
                <a:spcPct val="100000"/>
              </a:lnSpc>
              <a:buFont typeface="Courier New" pitchFamily="49" charset="0"/>
              <a:buChar char="o"/>
              <a:defRPr/>
            </a:lvl4pPr>
            <a:lvl5pPr marL="1524000" indent="-304800">
              <a:lnSpc>
                <a:spcPct val="100000"/>
              </a:lnSpc>
              <a:buFont typeface="Courier New" pitchFamily="49" charset="0"/>
              <a:buChar char="o"/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3850" y="4893469"/>
            <a:ext cx="482600" cy="19883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BF71DF-0A75-472A-BBD6-648F9A6DD90E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166022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51520" y="2931791"/>
            <a:ext cx="5689600" cy="720725"/>
          </a:xfrm>
          <a:prstGeom prst="rect">
            <a:avLst/>
          </a:prstGeom>
        </p:spPr>
        <p:txBody>
          <a:bodyPr vert="horz" anchor="ctr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Titel invoeren</a:t>
            </a: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3867150"/>
            <a:ext cx="2017714" cy="360784"/>
          </a:xfrm>
          <a:prstGeom prst="rect">
            <a:avLst/>
          </a:prstGeom>
        </p:spPr>
        <p:txBody>
          <a:bodyPr vert="horz" anchor="ctr"/>
          <a:lstStyle>
            <a:lvl1pPr>
              <a:defRPr sz="1600" b="1">
                <a:solidFill>
                  <a:srgbClr val="635D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Naam invoeren</a:t>
            </a:r>
          </a:p>
        </p:txBody>
      </p:sp>
      <p:sp>
        <p:nvSpPr>
          <p:cNvPr id="14" name="Tijdelijke aanduiding voor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553" y="2139058"/>
            <a:ext cx="5689600" cy="720725"/>
          </a:xfrm>
          <a:prstGeom prst="rect">
            <a:avLst/>
          </a:prstGeom>
        </p:spPr>
        <p:txBody>
          <a:bodyPr vert="horz" anchor="ctr"/>
          <a:lstStyle>
            <a:lvl1pPr>
              <a:defRPr sz="28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Titel invoeren</a:t>
            </a:r>
          </a:p>
        </p:txBody>
      </p:sp>
      <p:sp>
        <p:nvSpPr>
          <p:cNvPr id="15" name="Tijdelijke aanduiding vo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51520" y="4299942"/>
            <a:ext cx="2017714" cy="216024"/>
          </a:xfrm>
          <a:prstGeom prst="rect">
            <a:avLst/>
          </a:prstGeom>
        </p:spPr>
        <p:txBody>
          <a:bodyPr vert="horz" anchor="ctr"/>
          <a:lstStyle>
            <a:lvl1pPr>
              <a:defRPr sz="1400" b="0">
                <a:solidFill>
                  <a:srgbClr val="635D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Datum invoeren</a:t>
            </a:r>
          </a:p>
        </p:txBody>
      </p:sp>
      <p:pic>
        <p:nvPicPr>
          <p:cNvPr id="17" name="Afbeelding 16" descr="ENEXIS Normaal FC C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7" y="4155926"/>
            <a:ext cx="2065468" cy="78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7277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8" name="Afbeelding 7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5" name="Tijdelijke aanduiding voor tekst 4"/>
          <p:cNvSpPr>
            <a:spLocks noGrp="1"/>
          </p:cNvSpPr>
          <p:nvPr>
            <p:ph type="body" sz="quarter" idx="10"/>
          </p:nvPr>
        </p:nvSpPr>
        <p:spPr>
          <a:xfrm>
            <a:off x="684213" y="1131888"/>
            <a:ext cx="8135937" cy="3168650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635D63"/>
                </a:solidFill>
                <a:latin typeface="Arial"/>
              </a:defRPr>
            </a:lvl1pPr>
            <a:lvl2pPr>
              <a:defRPr>
                <a:solidFill>
                  <a:srgbClr val="635D63"/>
                </a:solidFill>
              </a:defRPr>
            </a:lvl2pPr>
            <a:lvl3pPr>
              <a:defRPr>
                <a:solidFill>
                  <a:srgbClr val="635D63"/>
                </a:solidFill>
              </a:defRPr>
            </a:lvl3pPr>
            <a:lvl4pPr>
              <a:defRPr>
                <a:solidFill>
                  <a:srgbClr val="635D63"/>
                </a:solidFill>
              </a:defRPr>
            </a:lvl4pPr>
            <a:lvl5pPr>
              <a:defRPr>
                <a:solidFill>
                  <a:srgbClr val="635D63"/>
                </a:solidFill>
              </a:defRPr>
            </a:lvl5pPr>
          </a:lstStyle>
          <a:p>
            <a:pPr lvl="0"/>
            <a:r>
              <a:rPr lang="nl-NL" dirty="0"/>
              <a:t>Klik om de tekststijl van het model te bewerken</a:t>
            </a:r>
          </a:p>
        </p:txBody>
      </p:sp>
      <p:sp>
        <p:nvSpPr>
          <p:cNvPr id="13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6777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3816425" cy="3321844"/>
          </a:xfrm>
          <a:prstGeom prst="rect">
            <a:avLst/>
          </a:prstGeom>
        </p:spPr>
        <p:txBody>
          <a:bodyPr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 sz="14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/>
            </a:pPr>
            <a:r>
              <a:rPr lang="nl-NL" dirty="0"/>
              <a:t>Klik om de tekststijl van het model te bewerken</a:t>
            </a:r>
          </a:p>
          <a:p>
            <a:pPr lvl="0"/>
            <a:endParaRPr lang="nl-NL" dirty="0"/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2"/>
          </p:nvPr>
        </p:nvSpPr>
        <p:spPr>
          <a:xfrm>
            <a:off x="5004048" y="1140621"/>
            <a:ext cx="3816102" cy="3321844"/>
          </a:xfrm>
          <a:prstGeom prst="rect">
            <a:avLst/>
          </a:prstGeom>
        </p:spPr>
        <p:txBody>
          <a:bodyPr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 sz="14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 dirty="0"/>
              <a:t>Klik om de tekststijl van het model te bewerken</a:t>
            </a:r>
          </a:p>
          <a:p>
            <a:pPr lvl="0"/>
            <a:endParaRPr lang="nl-NL" dirty="0"/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8" name="Afbeelding 7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1519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opsommings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pic>
        <p:nvPicPr>
          <p:cNvPr id="8" name="Afbeelding 7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2" name="Afbeelding 1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5767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 met opsommings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3812233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jdelijke aanduiding voor tekst 5"/>
          <p:cNvSpPr>
            <a:spLocks noGrp="1"/>
          </p:cNvSpPr>
          <p:nvPr>
            <p:ph type="body" sz="quarter" idx="12"/>
          </p:nvPr>
        </p:nvSpPr>
        <p:spPr>
          <a:xfrm>
            <a:off x="4860032" y="1140621"/>
            <a:ext cx="3960117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pic>
        <p:nvPicPr>
          <p:cNvPr id="10" name="Afbeelding 9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9" name="Afbeelding 8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3308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/>
          <p:cNvSpPr>
            <a:spLocks noGrp="1"/>
          </p:cNvSpPr>
          <p:nvPr>
            <p:ph type="pic" sz="quarter" idx="11"/>
          </p:nvPr>
        </p:nvSpPr>
        <p:spPr>
          <a:xfrm>
            <a:off x="683569" y="1140621"/>
            <a:ext cx="8136581" cy="3321843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afbeelding wilt toevoegen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1780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3816425" cy="3321844"/>
          </a:xfrm>
          <a:prstGeom prst="rect">
            <a:avLst/>
          </a:prstGeom>
        </p:spPr>
        <p:txBody>
          <a:bodyPr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 sz="14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/>
            </a:pPr>
            <a:r>
              <a:rPr lang="nl-NL"/>
              <a:t>Tekststijl van het model bewerken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/>
            </a:pPr>
            <a:r>
              <a:rPr lang="nl-NL"/>
              <a:t>Tweede niveau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2"/>
          </p:nvPr>
        </p:nvSpPr>
        <p:spPr>
          <a:xfrm>
            <a:off x="5004048" y="1140621"/>
            <a:ext cx="3816102" cy="3321844"/>
          </a:xfrm>
          <a:prstGeom prst="rect">
            <a:avLst/>
          </a:prstGeom>
        </p:spPr>
        <p:txBody>
          <a:bodyPr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Wingdings 2" pitchFamily="18" charset="2"/>
              <a:buNone/>
              <a:tabLst/>
              <a:defRPr sz="14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8" name="Afbeelding 7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301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2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/>
          <p:cNvSpPr>
            <a:spLocks noGrp="1"/>
          </p:cNvSpPr>
          <p:nvPr>
            <p:ph type="pic" sz="quarter" idx="11"/>
          </p:nvPr>
        </p:nvSpPr>
        <p:spPr>
          <a:xfrm>
            <a:off x="683569" y="1140621"/>
            <a:ext cx="3888432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afbeelding wilt toevoegen</a:t>
            </a:r>
          </a:p>
        </p:txBody>
      </p:sp>
      <p:sp>
        <p:nvSpPr>
          <p:cNvPr id="6" name="Tijdelijke aanduiding voor afbeelding 4"/>
          <p:cNvSpPr>
            <a:spLocks noGrp="1"/>
          </p:cNvSpPr>
          <p:nvPr>
            <p:ph type="pic" sz="quarter" idx="12"/>
          </p:nvPr>
        </p:nvSpPr>
        <p:spPr>
          <a:xfrm>
            <a:off x="4932039" y="1140621"/>
            <a:ext cx="3888110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afbeelding wilt toevoegen</a:t>
            </a:r>
          </a:p>
        </p:txBody>
      </p:sp>
      <p:pic>
        <p:nvPicPr>
          <p:cNvPr id="13" name="Afbeelding 12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7" name="Afbeelding 6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2559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abel 4"/>
          <p:cNvSpPr>
            <a:spLocks noGrp="1"/>
          </p:cNvSpPr>
          <p:nvPr>
            <p:ph type="tbl" sz="quarter" idx="11"/>
          </p:nvPr>
        </p:nvSpPr>
        <p:spPr>
          <a:xfrm>
            <a:off x="683568" y="1140621"/>
            <a:ext cx="8136587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tabel wilt toevoegen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6550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grafiek 4"/>
          <p:cNvSpPr>
            <a:spLocks noGrp="1"/>
          </p:cNvSpPr>
          <p:nvPr>
            <p:ph type="chart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een grafiek wilt toevoegen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4126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media 4"/>
          <p:cNvSpPr>
            <a:spLocks noGrp="1"/>
          </p:cNvSpPr>
          <p:nvPr>
            <p:ph type="media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635D6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 dirty="0"/>
              <a:t>Klik op het pictogram als u media wilt toevoegen</a:t>
            </a:r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7" name="Afbeelding 6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2841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beeldmerk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8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8418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(foto 1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3" cstate="print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17672"/>
            <a:ext cx="6693144" cy="15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4350" y="2937522"/>
            <a:ext cx="5454650" cy="725673"/>
          </a:xfrm>
        </p:spPr>
        <p:txBody>
          <a:bodyPr anchor="ctr">
            <a:normAutofit/>
          </a:bodyPr>
          <a:lstStyle>
            <a:lvl1pPr algn="l">
              <a:defRPr sz="2400" b="1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4351" y="2119519"/>
            <a:ext cx="5454650" cy="717698"/>
          </a:xfrm>
        </p:spPr>
        <p:txBody>
          <a:bodyPr anchor="ctr">
            <a:norm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54" y="3907870"/>
            <a:ext cx="2191146" cy="1058669"/>
          </a:xfrm>
          <a:prstGeom prst="rect">
            <a:avLst/>
          </a:prstGeom>
        </p:spPr>
      </p:pic>
      <p:sp>
        <p:nvSpPr>
          <p:cNvPr id="7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514350" y="3670698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Naam</a:t>
            </a:r>
            <a:endParaRPr lang="en-GB" dirty="0"/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514350" y="4155282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172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5724C-C192-0B4B-BACC-F4624A2DDAF2}" type="datetimeFigureOut">
              <a:rPr lang="en-GB" smtClean="0"/>
              <a:t>19/09/2024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BF4A6-40A7-E04A-A78B-7409A1BC41E0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ijdelijke aanduiding voor inhoud 6"/>
          <p:cNvSpPr>
            <a:spLocks noGrp="1"/>
          </p:cNvSpPr>
          <p:nvPr>
            <p:ph sz="quarter" idx="13"/>
          </p:nvPr>
        </p:nvSpPr>
        <p:spPr>
          <a:xfrm>
            <a:off x="514351" y="1175148"/>
            <a:ext cx="8108156" cy="344924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621920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(foto 2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3" cstate="print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17672"/>
            <a:ext cx="6693144" cy="15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4350" y="2937522"/>
            <a:ext cx="5454650" cy="725673"/>
          </a:xfrm>
        </p:spPr>
        <p:txBody>
          <a:bodyPr anchor="ctr">
            <a:normAutofit/>
          </a:bodyPr>
          <a:lstStyle>
            <a:lvl1pPr algn="l">
              <a:defRPr sz="2400" b="1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4351" y="2119519"/>
            <a:ext cx="5454650" cy="717698"/>
          </a:xfrm>
        </p:spPr>
        <p:txBody>
          <a:bodyPr anchor="ctr">
            <a:norm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54" y="3907870"/>
            <a:ext cx="2191146" cy="1058669"/>
          </a:xfrm>
          <a:prstGeom prst="rect">
            <a:avLst/>
          </a:prstGeom>
        </p:spPr>
      </p:pic>
      <p:sp>
        <p:nvSpPr>
          <p:cNvPr id="7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514350" y="3670698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Naam</a:t>
            </a:r>
            <a:endParaRPr lang="en-GB" dirty="0"/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514350" y="4155282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42347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(foto 3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3" cstate="print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17672"/>
            <a:ext cx="6693144" cy="15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4350" y="2937522"/>
            <a:ext cx="5454650" cy="725673"/>
          </a:xfrm>
        </p:spPr>
        <p:txBody>
          <a:bodyPr anchor="ctr">
            <a:normAutofit/>
          </a:bodyPr>
          <a:lstStyle>
            <a:lvl1pPr algn="l">
              <a:defRPr sz="2400" b="1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4351" y="2119519"/>
            <a:ext cx="5454650" cy="717698"/>
          </a:xfrm>
        </p:spPr>
        <p:txBody>
          <a:bodyPr anchor="ctr">
            <a:norm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54" y="3907870"/>
            <a:ext cx="2191146" cy="1058669"/>
          </a:xfrm>
          <a:prstGeom prst="rect">
            <a:avLst/>
          </a:prstGeom>
        </p:spPr>
      </p:pic>
      <p:sp>
        <p:nvSpPr>
          <p:cNvPr id="7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514350" y="3670698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Naam</a:t>
            </a:r>
            <a:endParaRPr lang="en-GB" dirty="0"/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514350" y="4155282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2220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(foto 4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3" cstate="print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17672"/>
            <a:ext cx="6693144" cy="15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4350" y="2937522"/>
            <a:ext cx="5454650" cy="725673"/>
          </a:xfrm>
        </p:spPr>
        <p:txBody>
          <a:bodyPr anchor="ctr">
            <a:normAutofit/>
          </a:bodyPr>
          <a:lstStyle>
            <a:lvl1pPr algn="l">
              <a:defRPr sz="2400" b="1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4351" y="2119519"/>
            <a:ext cx="5454650" cy="717698"/>
          </a:xfrm>
        </p:spPr>
        <p:txBody>
          <a:bodyPr anchor="ctr">
            <a:norm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54" y="3907870"/>
            <a:ext cx="2191146" cy="1058669"/>
          </a:xfrm>
          <a:prstGeom prst="rect">
            <a:avLst/>
          </a:prstGeom>
        </p:spPr>
      </p:pic>
      <p:sp>
        <p:nvSpPr>
          <p:cNvPr id="7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514350" y="3670698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Naam</a:t>
            </a:r>
            <a:endParaRPr lang="en-GB" dirty="0"/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514350" y="4155282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0834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opsommings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pic>
        <p:nvPicPr>
          <p:cNvPr id="8" name="Afbeelding 7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2" name="Afbeelding 1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1040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(foto 5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3" cstate="print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17672"/>
            <a:ext cx="6693144" cy="15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4350" y="2937522"/>
            <a:ext cx="5454650" cy="725673"/>
          </a:xfrm>
        </p:spPr>
        <p:txBody>
          <a:bodyPr anchor="ctr">
            <a:normAutofit/>
          </a:bodyPr>
          <a:lstStyle>
            <a:lvl1pPr algn="l">
              <a:defRPr sz="2400" b="1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4351" y="2119519"/>
            <a:ext cx="5454650" cy="717698"/>
          </a:xfrm>
        </p:spPr>
        <p:txBody>
          <a:bodyPr anchor="ctr">
            <a:norm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54" y="3907870"/>
            <a:ext cx="2191146" cy="1058669"/>
          </a:xfrm>
          <a:prstGeom prst="rect">
            <a:avLst/>
          </a:prstGeom>
        </p:spPr>
      </p:pic>
      <p:sp>
        <p:nvSpPr>
          <p:cNvPr id="7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514350" y="3670698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Naam</a:t>
            </a:r>
            <a:endParaRPr lang="en-GB" dirty="0"/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514350" y="4155282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672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(foto 7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3" cstate="print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17672"/>
            <a:ext cx="6693144" cy="15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4350" y="2937522"/>
            <a:ext cx="5454650" cy="725673"/>
          </a:xfrm>
        </p:spPr>
        <p:txBody>
          <a:bodyPr anchor="ctr">
            <a:normAutofit/>
          </a:bodyPr>
          <a:lstStyle>
            <a:lvl1pPr algn="l">
              <a:defRPr sz="2400" b="1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4351" y="2119519"/>
            <a:ext cx="5454650" cy="717698"/>
          </a:xfrm>
        </p:spPr>
        <p:txBody>
          <a:bodyPr anchor="ctr">
            <a:norm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spc="-38" baseline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154" y="3907870"/>
            <a:ext cx="2191146" cy="1058669"/>
          </a:xfrm>
          <a:prstGeom prst="rect">
            <a:avLst/>
          </a:prstGeom>
        </p:spPr>
      </p:pic>
      <p:sp>
        <p:nvSpPr>
          <p:cNvPr id="7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514350" y="3670698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Naam</a:t>
            </a:r>
            <a:endParaRPr lang="en-GB" dirty="0"/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514350" y="4155282"/>
            <a:ext cx="4057650" cy="469106"/>
          </a:xfrm>
        </p:spPr>
        <p:txBody>
          <a:bodyPr anchor="ctr">
            <a:normAutofit/>
          </a:bodyPr>
          <a:lstStyle>
            <a:lvl1pPr marL="272" indent="0">
              <a:buNone/>
              <a:defRPr sz="13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97643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5724C-C192-0B4B-BACC-F4624A2DDAF2}" type="datetimeFigureOut">
              <a:rPr lang="en-GB" smtClean="0"/>
              <a:t>19/09/2024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BF4A6-40A7-E04A-A78B-7409A1BC41E0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Tijdelijke aanduiding voor inhoud 6"/>
          <p:cNvSpPr>
            <a:spLocks noGrp="1"/>
          </p:cNvSpPr>
          <p:nvPr>
            <p:ph sz="quarter" idx="13"/>
          </p:nvPr>
        </p:nvSpPr>
        <p:spPr>
          <a:xfrm>
            <a:off x="514350" y="1175148"/>
            <a:ext cx="3924300" cy="344924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4"/>
          </p:nvPr>
        </p:nvSpPr>
        <p:spPr>
          <a:xfrm>
            <a:off x="4705351" y="1175148"/>
            <a:ext cx="3917156" cy="344924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9037898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/>
          <p:cNvSpPr>
            <a:spLocks noGrp="1"/>
          </p:cNvSpPr>
          <p:nvPr>
            <p:ph type="pic" sz="quarter" idx="13"/>
          </p:nvPr>
        </p:nvSpPr>
        <p:spPr>
          <a:xfrm>
            <a:off x="512999" y="1175147"/>
            <a:ext cx="8109508" cy="3449241"/>
          </a:xfrm>
          <a:solidFill>
            <a:schemeClr val="bg1">
              <a:lumMod val="95000"/>
            </a:schemeClr>
          </a:solidFill>
        </p:spPr>
        <p:txBody>
          <a:bodyPr lIns="684000" anchor="ctr" anchorCtr="0"/>
          <a:lstStyle>
            <a:lvl1pPr marL="272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5724C-C192-0B4B-BACC-F4624A2DDAF2}" type="datetimeFigureOut">
              <a:rPr lang="en-GB" smtClean="0"/>
              <a:t>19/09/2024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BF4A6-40A7-E04A-A78B-7409A1BC41E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6154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2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/>
          <p:cNvSpPr>
            <a:spLocks noGrp="1"/>
          </p:cNvSpPr>
          <p:nvPr>
            <p:ph type="pic" sz="quarter" idx="13"/>
          </p:nvPr>
        </p:nvSpPr>
        <p:spPr>
          <a:xfrm>
            <a:off x="512999" y="1018615"/>
            <a:ext cx="3914445" cy="3605774"/>
          </a:xfrm>
          <a:solidFill>
            <a:schemeClr val="bg1">
              <a:lumMod val="95000"/>
            </a:schemeClr>
          </a:solidFill>
        </p:spPr>
        <p:txBody>
          <a:bodyPr lIns="180000" tIns="180000" anchor="t" anchorCtr="0"/>
          <a:lstStyle>
            <a:lvl1pPr marL="272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5724C-C192-0B4B-BACC-F4624A2DDAF2}" type="datetimeFigureOut">
              <a:rPr lang="en-GB" smtClean="0"/>
              <a:t>19/09/2024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BF4A6-40A7-E04A-A78B-7409A1BC41E0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ijdelijke aanduiding voor afbeelding 6"/>
          <p:cNvSpPr>
            <a:spLocks noGrp="1"/>
          </p:cNvSpPr>
          <p:nvPr>
            <p:ph type="pic" sz="quarter" idx="14"/>
          </p:nvPr>
        </p:nvSpPr>
        <p:spPr>
          <a:xfrm>
            <a:off x="4708061" y="1018615"/>
            <a:ext cx="3914445" cy="3605774"/>
          </a:xfrm>
          <a:solidFill>
            <a:schemeClr val="bg1">
              <a:lumMod val="95000"/>
            </a:schemeClr>
          </a:solidFill>
        </p:spPr>
        <p:txBody>
          <a:bodyPr lIns="180000" tIns="180000" anchor="t" anchorCtr="0"/>
          <a:lstStyle>
            <a:lvl1pPr marL="272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14728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5724C-C192-0B4B-BACC-F4624A2DDAF2}" type="datetimeFigureOut">
              <a:rPr lang="en-GB" smtClean="0"/>
              <a:t>19/09/2024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BF4A6-40A7-E04A-A78B-7409A1BC41E0}" type="slidenum">
              <a:rPr lang="en-GB" smtClean="0"/>
              <a:t>‹nr.›</a:t>
            </a:fld>
            <a:endParaRPr lang="en-GB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981617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5724C-C192-0B4B-BACC-F4624A2DDAF2}" type="datetimeFigureOut">
              <a:rPr lang="en-GB" smtClean="0"/>
              <a:t>19/09/2024</a:t>
            </a:fld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BF4A6-40A7-E04A-A78B-7409A1BC41E0}" type="slidenum">
              <a:rPr lang="en-GB" smtClean="0"/>
              <a:t>‹nr.›</a:t>
            </a:fld>
            <a:endParaRPr lang="en-GB"/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8506" y="4742184"/>
            <a:ext cx="324000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9207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odnu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5724C-C192-0B4B-BACC-F4624A2DDAF2}" type="datetimeFigureOut">
              <a:rPr lang="en-GB" smtClean="0"/>
              <a:pPr/>
              <a:t>19/09/2024</a:t>
            </a:fld>
            <a:endParaRPr lang="en-GB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BF4A6-40A7-E04A-A78B-7409A1BC41E0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ekstvak 5"/>
          <p:cNvSpPr txBox="1"/>
          <p:nvPr userDrawn="1"/>
        </p:nvSpPr>
        <p:spPr>
          <a:xfrm>
            <a:off x="514350" y="1754842"/>
            <a:ext cx="2032397" cy="276999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NOODNUMMER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525502" y="2008754"/>
            <a:ext cx="2032397" cy="137990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lIns="432000" tIns="135000" rIns="0" bIns="135000" rtlCol="0">
            <a:normAutofit/>
          </a:bodyPr>
          <a:lstStyle/>
          <a:p>
            <a:pPr>
              <a:spcAft>
                <a:spcPts val="450"/>
              </a:spcAft>
            </a:pPr>
            <a:endParaRPr lang="en-GB" sz="1350" dirty="0">
              <a:solidFill>
                <a:schemeClr val="tx1"/>
              </a:solidFill>
            </a:endParaRPr>
          </a:p>
        </p:txBody>
      </p:sp>
      <p:sp>
        <p:nvSpPr>
          <p:cNvPr id="8" name="Rechthoek 7"/>
          <p:cNvSpPr/>
          <p:nvPr userDrawn="1"/>
        </p:nvSpPr>
        <p:spPr>
          <a:xfrm>
            <a:off x="2723029" y="1754841"/>
            <a:ext cx="5899477" cy="163381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50">
              <a:solidFill>
                <a:schemeClr val="tx1"/>
              </a:solidFill>
            </a:endParaRPr>
          </a:p>
        </p:txBody>
      </p:sp>
      <p:sp>
        <p:nvSpPr>
          <p:cNvPr id="9" name="Tekstvak 8"/>
          <p:cNvSpPr txBox="1"/>
          <p:nvPr userDrawn="1"/>
        </p:nvSpPr>
        <p:spPr>
          <a:xfrm>
            <a:off x="4572000" y="1790644"/>
            <a:ext cx="3899647" cy="150810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14313" indent="-214313">
              <a:spcAft>
                <a:spcPts val="600"/>
              </a:spcAft>
              <a:buFont typeface="Wingdings 2" panose="05020102010507070707" pitchFamily="18" charset="2"/>
              <a:buChar char="®"/>
            </a:pPr>
            <a:r>
              <a:rPr lang="en-GB" sz="1200" dirty="0">
                <a:solidFill>
                  <a:schemeClr val="tx1"/>
                </a:solidFill>
              </a:rPr>
              <a:t>Ben je </a:t>
            </a:r>
            <a:r>
              <a:rPr lang="en-GB" sz="1200" dirty="0" err="1">
                <a:solidFill>
                  <a:schemeClr val="tx1"/>
                </a:solidFill>
              </a:rPr>
              <a:t>bewust</a:t>
            </a:r>
            <a:r>
              <a:rPr lang="en-GB" sz="1200" dirty="0">
                <a:solidFill>
                  <a:schemeClr val="tx1"/>
                </a:solidFill>
              </a:rPr>
              <a:t> van </a:t>
            </a:r>
            <a:r>
              <a:rPr lang="en-GB" sz="1200" dirty="0" err="1">
                <a:solidFill>
                  <a:schemeClr val="tx1"/>
                </a:solidFill>
              </a:rPr>
              <a:t>jouw</a:t>
            </a:r>
            <a:r>
              <a:rPr lang="en-GB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omgeving</a:t>
            </a:r>
            <a:endParaRPr lang="en-GB" sz="1200" dirty="0">
              <a:solidFill>
                <a:schemeClr val="tx1"/>
              </a:solidFill>
            </a:endParaRPr>
          </a:p>
          <a:p>
            <a:pPr marL="214313" indent="-214313">
              <a:spcAft>
                <a:spcPts val="600"/>
              </a:spcAft>
              <a:buFont typeface="Wingdings 2" panose="05020102010507070707" pitchFamily="18" charset="2"/>
              <a:buChar char="®"/>
            </a:pPr>
            <a:r>
              <a:rPr lang="en-GB" sz="1200" dirty="0" err="1">
                <a:solidFill>
                  <a:schemeClr val="tx1"/>
                </a:solidFill>
              </a:rPr>
              <a:t>Reageer</a:t>
            </a:r>
            <a:r>
              <a:rPr lang="en-GB" sz="1200" dirty="0">
                <a:solidFill>
                  <a:schemeClr val="tx1"/>
                </a:solidFill>
              </a:rPr>
              <a:t> alert </a:t>
            </a:r>
            <a:r>
              <a:rPr lang="en-GB" sz="1200" dirty="0" err="1">
                <a:solidFill>
                  <a:schemeClr val="tx1"/>
                </a:solidFill>
              </a:rPr>
              <a:t>bij</a:t>
            </a:r>
            <a:r>
              <a:rPr lang="en-GB" sz="1200" baseline="0" dirty="0">
                <a:solidFill>
                  <a:schemeClr val="tx1"/>
                </a:solidFill>
              </a:rPr>
              <a:t> </a:t>
            </a:r>
            <a:r>
              <a:rPr lang="en-GB" sz="1200" baseline="0" dirty="0" err="1">
                <a:solidFill>
                  <a:schemeClr val="tx1"/>
                </a:solidFill>
              </a:rPr>
              <a:t>een</a:t>
            </a:r>
            <a:r>
              <a:rPr lang="en-GB" sz="1200" baseline="0" dirty="0">
                <a:solidFill>
                  <a:schemeClr val="tx1"/>
                </a:solidFill>
              </a:rPr>
              <a:t> </a:t>
            </a:r>
            <a:r>
              <a:rPr lang="en-GB" sz="1200" baseline="0" dirty="0" err="1">
                <a:solidFill>
                  <a:schemeClr val="tx1"/>
                </a:solidFill>
              </a:rPr>
              <a:t>noodsignaal</a:t>
            </a:r>
            <a:endParaRPr lang="en-GB" sz="1200" baseline="0" dirty="0">
              <a:solidFill>
                <a:schemeClr val="tx1"/>
              </a:solidFill>
            </a:endParaRPr>
          </a:p>
          <a:p>
            <a:pPr marL="214313" indent="-214313">
              <a:spcAft>
                <a:spcPts val="600"/>
              </a:spcAft>
              <a:buFont typeface="Wingdings 2" panose="05020102010507070707" pitchFamily="18" charset="2"/>
              <a:buChar char="®"/>
            </a:pPr>
            <a:r>
              <a:rPr lang="en-GB" sz="1200" baseline="0" dirty="0" err="1">
                <a:solidFill>
                  <a:schemeClr val="tx1"/>
                </a:solidFill>
              </a:rPr>
              <a:t>Volg</a:t>
            </a:r>
            <a:r>
              <a:rPr lang="en-GB" sz="1200" baseline="0" dirty="0">
                <a:solidFill>
                  <a:schemeClr val="tx1"/>
                </a:solidFill>
              </a:rPr>
              <a:t> de </a:t>
            </a:r>
            <a:r>
              <a:rPr lang="en-GB" sz="1200" baseline="0" dirty="0" err="1">
                <a:solidFill>
                  <a:schemeClr val="tx1"/>
                </a:solidFill>
              </a:rPr>
              <a:t>instructies</a:t>
            </a:r>
            <a:r>
              <a:rPr lang="en-GB" sz="1200" baseline="0" dirty="0">
                <a:solidFill>
                  <a:schemeClr val="tx1"/>
                </a:solidFill>
              </a:rPr>
              <a:t> op van de </a:t>
            </a:r>
            <a:r>
              <a:rPr lang="en-GB" sz="1200" baseline="0" dirty="0" err="1">
                <a:solidFill>
                  <a:schemeClr val="tx1"/>
                </a:solidFill>
              </a:rPr>
              <a:t>BHV’er</a:t>
            </a:r>
            <a:endParaRPr lang="en-GB" sz="1200" baseline="0" dirty="0">
              <a:solidFill>
                <a:schemeClr val="tx1"/>
              </a:solidFill>
            </a:endParaRPr>
          </a:p>
          <a:p>
            <a:pPr marL="214313" indent="-214313">
              <a:spcAft>
                <a:spcPts val="600"/>
              </a:spcAft>
              <a:buFont typeface="Wingdings 2" panose="05020102010507070707" pitchFamily="18" charset="2"/>
              <a:buChar char="®"/>
            </a:pPr>
            <a:r>
              <a:rPr lang="en-GB" sz="1200" baseline="0" dirty="0" err="1">
                <a:solidFill>
                  <a:schemeClr val="tx1"/>
                </a:solidFill>
              </a:rPr>
              <a:t>Verlaat</a:t>
            </a:r>
            <a:r>
              <a:rPr lang="en-GB" sz="1200" baseline="0" dirty="0">
                <a:solidFill>
                  <a:schemeClr val="tx1"/>
                </a:solidFill>
              </a:rPr>
              <a:t> het </a:t>
            </a:r>
            <a:r>
              <a:rPr lang="en-GB" sz="1200" baseline="0" dirty="0" err="1">
                <a:solidFill>
                  <a:schemeClr val="tx1"/>
                </a:solidFill>
              </a:rPr>
              <a:t>gebouw</a:t>
            </a:r>
            <a:r>
              <a:rPr lang="en-GB" sz="1200" baseline="0" dirty="0">
                <a:solidFill>
                  <a:schemeClr val="tx1"/>
                </a:solidFill>
              </a:rPr>
              <a:t> via de </a:t>
            </a:r>
            <a:r>
              <a:rPr lang="en-GB" sz="1200" baseline="0" dirty="0" err="1">
                <a:solidFill>
                  <a:schemeClr val="tx1"/>
                </a:solidFill>
              </a:rPr>
              <a:t>meest</a:t>
            </a:r>
            <a:r>
              <a:rPr lang="en-GB" sz="1200" baseline="0" dirty="0">
                <a:solidFill>
                  <a:schemeClr val="tx1"/>
                </a:solidFill>
              </a:rPr>
              <a:t> </a:t>
            </a:r>
            <a:r>
              <a:rPr lang="en-GB" sz="1200" baseline="0" dirty="0" err="1">
                <a:solidFill>
                  <a:schemeClr val="tx1"/>
                </a:solidFill>
              </a:rPr>
              <a:t>nabijgelegen</a:t>
            </a:r>
            <a:r>
              <a:rPr lang="en-GB" sz="1200" baseline="0" dirty="0">
                <a:solidFill>
                  <a:schemeClr val="tx1"/>
                </a:solidFill>
              </a:rPr>
              <a:t> (</a:t>
            </a:r>
            <a:r>
              <a:rPr lang="en-GB" sz="1200" baseline="0" dirty="0" err="1">
                <a:solidFill>
                  <a:schemeClr val="tx1"/>
                </a:solidFill>
              </a:rPr>
              <a:t>nood</a:t>
            </a:r>
            <a:r>
              <a:rPr lang="en-GB" sz="1200" baseline="0" dirty="0">
                <a:solidFill>
                  <a:schemeClr val="tx1"/>
                </a:solidFill>
              </a:rPr>
              <a:t>)</a:t>
            </a:r>
            <a:r>
              <a:rPr lang="en-GB" sz="1200" baseline="0" dirty="0" err="1">
                <a:solidFill>
                  <a:schemeClr val="tx1"/>
                </a:solidFill>
              </a:rPr>
              <a:t>uitgang</a:t>
            </a:r>
            <a:endParaRPr lang="en-GB" sz="1200" baseline="0" dirty="0">
              <a:solidFill>
                <a:schemeClr val="tx1"/>
              </a:solidFill>
            </a:endParaRPr>
          </a:p>
          <a:p>
            <a:pPr marL="214313" indent="-214313">
              <a:spcAft>
                <a:spcPts val="600"/>
              </a:spcAft>
              <a:buFont typeface="Wingdings 2" panose="05020102010507070707" pitchFamily="18" charset="2"/>
              <a:buChar char="®"/>
            </a:pPr>
            <a:r>
              <a:rPr lang="en-GB" sz="1200" baseline="0" dirty="0">
                <a:solidFill>
                  <a:schemeClr val="tx1"/>
                </a:solidFill>
              </a:rPr>
              <a:t>Ga </a:t>
            </a:r>
            <a:r>
              <a:rPr lang="en-GB" sz="1200" baseline="0" dirty="0" err="1">
                <a:solidFill>
                  <a:schemeClr val="tx1"/>
                </a:solidFill>
              </a:rPr>
              <a:t>naar</a:t>
            </a:r>
            <a:r>
              <a:rPr lang="en-GB" sz="1200" baseline="0" dirty="0">
                <a:solidFill>
                  <a:schemeClr val="tx1"/>
                </a:solidFill>
              </a:rPr>
              <a:t> de </a:t>
            </a:r>
            <a:r>
              <a:rPr lang="en-GB" sz="1200" baseline="0" dirty="0" err="1">
                <a:solidFill>
                  <a:schemeClr val="tx1"/>
                </a:solidFill>
              </a:rPr>
              <a:t>verzamelplaats</a:t>
            </a: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0" name="Rechthoek 9"/>
          <p:cNvSpPr/>
          <p:nvPr userDrawn="1"/>
        </p:nvSpPr>
        <p:spPr>
          <a:xfrm>
            <a:off x="889398" y="2104312"/>
            <a:ext cx="1657349" cy="1356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en-GB" sz="3000" b="1" dirty="0">
                <a:solidFill>
                  <a:schemeClr val="tx1"/>
                </a:solidFill>
              </a:rPr>
              <a:t>848</a:t>
            </a:r>
            <a:endParaRPr lang="en-GB" sz="1800" b="1" dirty="0">
              <a:solidFill>
                <a:schemeClr val="tx1"/>
              </a:solidFill>
            </a:endParaRPr>
          </a:p>
          <a:p>
            <a:pPr>
              <a:spcAft>
                <a:spcPts val="450"/>
              </a:spcAft>
            </a:pPr>
            <a:r>
              <a:rPr lang="en-GB" sz="900" dirty="0">
                <a:solidFill>
                  <a:schemeClr val="tx1"/>
                </a:solidFill>
              </a:rPr>
              <a:t>EXTERNE MEDEWERKERS </a:t>
            </a:r>
            <a:br>
              <a:rPr lang="en-GB" sz="900" dirty="0">
                <a:solidFill>
                  <a:schemeClr val="tx1"/>
                </a:solidFill>
              </a:rPr>
            </a:br>
            <a:r>
              <a:rPr lang="en-GB" sz="900" dirty="0">
                <a:solidFill>
                  <a:schemeClr val="tx1"/>
                </a:solidFill>
              </a:rPr>
              <a:t>EN BEZOEKERS:</a:t>
            </a:r>
          </a:p>
          <a:p>
            <a:r>
              <a:rPr lang="en-GB" sz="1350" dirty="0">
                <a:solidFill>
                  <a:schemeClr val="tx1"/>
                </a:solidFill>
              </a:rPr>
              <a:t>088 85 79 112</a:t>
            </a:r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81" y="2216386"/>
            <a:ext cx="173338" cy="304226"/>
          </a:xfrm>
          <a:prstGeom prst="rect">
            <a:avLst/>
          </a:prstGeom>
        </p:spPr>
      </p:pic>
      <p:sp>
        <p:nvSpPr>
          <p:cNvPr id="13" name="Rechthoek 12"/>
          <p:cNvSpPr/>
          <p:nvPr userDrawn="1"/>
        </p:nvSpPr>
        <p:spPr>
          <a:xfrm>
            <a:off x="2840045" y="1865067"/>
            <a:ext cx="1411343" cy="1411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50"/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1672" y="2140356"/>
            <a:ext cx="1208090" cy="860765"/>
          </a:xfrm>
          <a:prstGeom prst="rect">
            <a:avLst/>
          </a:prstGeom>
        </p:spPr>
      </p:pic>
      <p:grpSp>
        <p:nvGrpSpPr>
          <p:cNvPr id="20" name="Groeperen 19"/>
          <p:cNvGrpSpPr/>
          <p:nvPr userDrawn="1"/>
        </p:nvGrpSpPr>
        <p:grpSpPr>
          <a:xfrm>
            <a:off x="2906745" y="1915493"/>
            <a:ext cx="1277945" cy="143687"/>
            <a:chOff x="3840515" y="2553991"/>
            <a:chExt cx="1703927" cy="191582"/>
          </a:xfrm>
        </p:grpSpPr>
        <p:cxnSp>
          <p:nvCxnSpPr>
            <p:cNvPr id="15" name="Rechte verbindingslijn met pijl 14"/>
            <p:cNvCxnSpPr/>
            <p:nvPr userDrawn="1"/>
          </p:nvCxnSpPr>
          <p:spPr>
            <a:xfrm>
              <a:off x="3840515" y="2553991"/>
              <a:ext cx="191582" cy="191582"/>
            </a:xfrm>
            <a:prstGeom prst="straightConnector1">
              <a:avLst/>
            </a:prstGeom>
            <a:ln w="38100">
              <a:solidFill>
                <a:schemeClr val="accent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Rechte verbindingslijn met pijl 15"/>
            <p:cNvCxnSpPr/>
            <p:nvPr userDrawn="1"/>
          </p:nvCxnSpPr>
          <p:spPr>
            <a:xfrm flipH="1">
              <a:off x="5352860" y="2553991"/>
              <a:ext cx="191582" cy="191582"/>
            </a:xfrm>
            <a:prstGeom prst="straightConnector1">
              <a:avLst/>
            </a:prstGeom>
            <a:ln w="38100">
              <a:solidFill>
                <a:schemeClr val="accent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eperen 18"/>
          <p:cNvGrpSpPr/>
          <p:nvPr userDrawn="1"/>
        </p:nvGrpSpPr>
        <p:grpSpPr>
          <a:xfrm rot="10800000">
            <a:off x="2906745" y="3097177"/>
            <a:ext cx="1277945" cy="143687"/>
            <a:chOff x="3992915" y="2706391"/>
            <a:chExt cx="1703927" cy="191582"/>
          </a:xfrm>
        </p:grpSpPr>
        <p:cxnSp>
          <p:nvCxnSpPr>
            <p:cNvPr id="17" name="Rechte verbindingslijn met pijl 16"/>
            <p:cNvCxnSpPr/>
            <p:nvPr userDrawn="1"/>
          </p:nvCxnSpPr>
          <p:spPr>
            <a:xfrm>
              <a:off x="3992915" y="2706391"/>
              <a:ext cx="191582" cy="191582"/>
            </a:xfrm>
            <a:prstGeom prst="straightConnector1">
              <a:avLst/>
            </a:prstGeom>
            <a:ln w="38100">
              <a:solidFill>
                <a:schemeClr val="accent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echte verbindingslijn met pijl 17"/>
            <p:cNvCxnSpPr/>
            <p:nvPr userDrawn="1"/>
          </p:nvCxnSpPr>
          <p:spPr>
            <a:xfrm flipH="1">
              <a:off x="5505260" y="2706391"/>
              <a:ext cx="191582" cy="191582"/>
            </a:xfrm>
            <a:prstGeom prst="straightConnector1">
              <a:avLst/>
            </a:prstGeom>
            <a:ln w="38100">
              <a:solidFill>
                <a:schemeClr val="accent2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kstvak 13"/>
          <p:cNvSpPr txBox="1"/>
          <p:nvPr userDrawn="1"/>
        </p:nvSpPr>
        <p:spPr>
          <a:xfrm>
            <a:off x="513000" y="325534"/>
            <a:ext cx="8110800" cy="65610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marL="0" indent="0">
              <a:spcAft>
                <a:spcPts val="600"/>
              </a:spcAft>
              <a:buFont typeface=".LucidaGrandeUI" charset="0"/>
              <a:buNone/>
            </a:pPr>
            <a:r>
              <a:rPr lang="nl-NL" sz="2700" b="0" dirty="0">
                <a:solidFill>
                  <a:schemeClr val="tx1"/>
                </a:solidFill>
                <a:latin typeface="Trebuchet MS" charset="0"/>
                <a:ea typeface="Trebuchet MS" charset="0"/>
                <a:cs typeface="Trebuchet MS" charset="0"/>
              </a:rPr>
              <a:t>Veilig werken, gezond weer thuis</a:t>
            </a:r>
          </a:p>
        </p:txBody>
      </p:sp>
    </p:spTree>
    <p:extLst>
      <p:ext uri="{BB962C8B-B14F-4D97-AF65-F5344CB8AC3E}">
        <p14:creationId xmlns:p14="http://schemas.microsoft.com/office/powerpoint/2010/main" val="41404534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69" y="750471"/>
            <a:ext cx="7539063" cy="3642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5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 met opsommingstekst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5"/>
          <p:cNvSpPr>
            <a:spLocks noGrp="1"/>
          </p:cNvSpPr>
          <p:nvPr>
            <p:ph type="body" sz="quarter" idx="11"/>
          </p:nvPr>
        </p:nvSpPr>
        <p:spPr>
          <a:xfrm>
            <a:off x="683569" y="1140621"/>
            <a:ext cx="3812233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Tijdelijke aanduiding voor tekst 5"/>
          <p:cNvSpPr>
            <a:spLocks noGrp="1"/>
          </p:cNvSpPr>
          <p:nvPr>
            <p:ph type="body" sz="quarter" idx="12"/>
          </p:nvPr>
        </p:nvSpPr>
        <p:spPr>
          <a:xfrm>
            <a:off x="4860032" y="1140621"/>
            <a:ext cx="3960117" cy="332184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tx1"/>
              </a:buClr>
              <a:buSzPct val="110000"/>
              <a:buFont typeface="Wingdings 2" pitchFamily="18" charset="2"/>
              <a:buChar char=""/>
              <a:defRPr sz="16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  <a:lvl2pPr marL="543600" indent="-285750">
              <a:lnSpc>
                <a:spcPct val="150000"/>
              </a:lnSpc>
              <a:buClr>
                <a:schemeClr val="accent1"/>
              </a:buClr>
              <a:buFont typeface="Wingdings 2" pitchFamily="18" charset="2"/>
              <a:buChar char="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2pPr>
            <a:lvl3pPr marL="810000" indent="-285750">
              <a:lnSpc>
                <a:spcPct val="125000"/>
              </a:lnSpc>
              <a:buClr>
                <a:schemeClr val="accent3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3pPr>
            <a:lvl4pPr marL="1080000" indent="-276225">
              <a:lnSpc>
                <a:spcPct val="125000"/>
              </a:lnSpc>
              <a:buClr>
                <a:schemeClr val="accent6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4pPr>
            <a:lvl5pPr marL="1350000" indent="-266700">
              <a:lnSpc>
                <a:spcPct val="125000"/>
              </a:lnSpc>
              <a:buClr>
                <a:schemeClr val="tx2"/>
              </a:buClr>
              <a:buFont typeface="Wingdings 2" pitchFamily="18" charset="2"/>
              <a:buChar char="¿"/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pic>
        <p:nvPicPr>
          <p:cNvPr id="10" name="Afbeelding 9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9" name="Afbeelding 8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646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/>
          <p:cNvSpPr>
            <a:spLocks noGrp="1"/>
          </p:cNvSpPr>
          <p:nvPr>
            <p:ph type="pic" sz="quarter" idx="11"/>
          </p:nvPr>
        </p:nvSpPr>
        <p:spPr>
          <a:xfrm>
            <a:off x="683569" y="1140621"/>
            <a:ext cx="8136581" cy="3321843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4478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2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/>
          <p:cNvSpPr>
            <a:spLocks noGrp="1"/>
          </p:cNvSpPr>
          <p:nvPr>
            <p:ph type="pic" sz="quarter" idx="11"/>
          </p:nvPr>
        </p:nvSpPr>
        <p:spPr>
          <a:xfrm>
            <a:off x="683569" y="1140621"/>
            <a:ext cx="3888432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6" name="Tijdelijke aanduiding voor afbeelding 4"/>
          <p:cNvSpPr>
            <a:spLocks noGrp="1"/>
          </p:cNvSpPr>
          <p:nvPr>
            <p:ph type="pic" sz="quarter" idx="12"/>
          </p:nvPr>
        </p:nvSpPr>
        <p:spPr>
          <a:xfrm>
            <a:off x="4932039" y="1140621"/>
            <a:ext cx="3888110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pic>
        <p:nvPicPr>
          <p:cNvPr id="13" name="Afbeelding 12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7" name="Afbeelding 6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2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258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abel 4"/>
          <p:cNvSpPr>
            <a:spLocks noGrp="1"/>
          </p:cNvSpPr>
          <p:nvPr>
            <p:ph type="tbl" sz="quarter" idx="11"/>
          </p:nvPr>
        </p:nvSpPr>
        <p:spPr>
          <a:xfrm>
            <a:off x="683568" y="1140621"/>
            <a:ext cx="8136587" cy="3321844"/>
          </a:xfrm>
          <a:prstGeom prst="rect">
            <a:avLst/>
          </a:prstGeom>
        </p:spPr>
        <p:txBody>
          <a:bodyPr/>
          <a:lstStyle>
            <a:lvl1pPr>
              <a:defRPr lang="nl-NL" sz="1200" dirty="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/>
              <a:t>Klik op het pictogram als u een tabel wilt toevoegen</a:t>
            </a:r>
            <a:endParaRPr lang="nl-NL" dirty="0"/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562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 met 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grafiek 4"/>
          <p:cNvSpPr>
            <a:spLocks noGrp="1"/>
          </p:cNvSpPr>
          <p:nvPr>
            <p:ph type="chart" sz="quarter" idx="11"/>
          </p:nvPr>
        </p:nvSpPr>
        <p:spPr>
          <a:xfrm>
            <a:off x="683569" y="1140621"/>
            <a:ext cx="8136581" cy="332184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35053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nl-NL"/>
              <a:t>Klik op het pictogram als u een grafiek wilt toevoegen</a:t>
            </a:r>
            <a:endParaRPr lang="nl-NL" dirty="0"/>
          </a:p>
        </p:txBody>
      </p:sp>
      <p:pic>
        <p:nvPicPr>
          <p:cNvPr id="12" name="Afbeelding 11" descr="device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700" y="195486"/>
            <a:ext cx="620622" cy="576064"/>
          </a:xfrm>
          <a:prstGeom prst="rect">
            <a:avLst/>
          </a:prstGeom>
        </p:spPr>
      </p:pic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83569" y="180480"/>
            <a:ext cx="8136905" cy="879102"/>
          </a:xfrm>
          <a:prstGeom prst="rect">
            <a:avLst/>
          </a:prstGeom>
        </p:spPr>
        <p:txBody>
          <a:bodyPr tIns="140400" anchor="t">
            <a:normAutofit/>
          </a:bodyPr>
          <a:lstStyle>
            <a:lvl1pPr algn="l">
              <a:defRPr sz="2600" b="1">
                <a:solidFill>
                  <a:srgbClr val="535053"/>
                </a:solidFill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pic>
        <p:nvPicPr>
          <p:cNvPr id="6" name="Afbeelding 5" descr="beeldmerk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6" y="4620394"/>
            <a:ext cx="419348" cy="419348"/>
          </a:xfrm>
          <a:prstGeom prst="rect">
            <a:avLst/>
          </a:prstGeom>
        </p:spPr>
      </p:pic>
      <p:sp>
        <p:nvSpPr>
          <p:cNvPr id="11" name="Tijdelijke aanduiding voor dianummer 1"/>
          <p:cNvSpPr txBox="1">
            <a:spLocks/>
          </p:cNvSpPr>
          <p:nvPr userDrawn="1"/>
        </p:nvSpPr>
        <p:spPr>
          <a:xfrm>
            <a:off x="683569" y="4659982"/>
            <a:ext cx="720080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accent6"/>
                </a:solidFill>
                <a:latin typeface="Arial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Arial" charset="0"/>
              </a:defRPr>
            </a:lvl9pPr>
          </a:lstStyle>
          <a:p>
            <a:fld id="{47AE69B1-B8AE-4770-8045-95263AB5DF40}" type="slidenum">
              <a:rPr lang="nl-NL" sz="1100" smtClean="0">
                <a:solidFill>
                  <a:srgbClr val="635D63"/>
                </a:solidFill>
              </a:rPr>
              <a:pPr/>
              <a:t>‹nr.›</a:t>
            </a:fld>
            <a:endParaRPr lang="nl-NL" sz="1100" dirty="0">
              <a:solidFill>
                <a:srgbClr val="635D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959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688" r:id="rId2"/>
    <p:sldLayoutId id="2147483689" r:id="rId3"/>
    <p:sldLayoutId id="2147483687" r:id="rId4"/>
    <p:sldLayoutId id="2147483723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721" r:id="rId11"/>
  </p:sldLayoutIdLst>
  <p:hf hdr="0" ftr="0" dt="0"/>
  <p:txStyles>
    <p:titleStyle>
      <a:lvl1pPr eaLnBrk="1" hangingPunct="1">
        <a:defRPr sz="2400">
          <a:solidFill>
            <a:srgbClr val="635D63"/>
          </a:solidFill>
          <a:latin typeface="Arial"/>
        </a:defRPr>
      </a:lvl1pPr>
    </p:titleStyle>
    <p:bodyStyle>
      <a:lvl1pPr eaLnBrk="1" hangingPunct="1">
        <a:defRPr>
          <a:solidFill>
            <a:srgbClr val="DE0073"/>
          </a:solidFill>
          <a:latin typeface="Trebuchet MS" pitchFamily="34" charset="0"/>
        </a:defRPr>
      </a:lvl1pPr>
      <a:lvl2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2pPr>
      <a:lvl3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3pPr>
      <a:lvl4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4pPr>
      <a:lvl5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5pPr>
    </p:bodyStyle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6943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</p:sldLayoutIdLst>
  <p:hf hdr="0" ftr="0" dt="0"/>
  <p:txStyles>
    <p:titleStyle>
      <a:lvl1pPr eaLnBrk="1" hangingPunct="1">
        <a:defRPr sz="2400">
          <a:solidFill>
            <a:srgbClr val="635D63"/>
          </a:solidFill>
          <a:latin typeface="Arial"/>
        </a:defRPr>
      </a:lvl1pPr>
    </p:titleStyle>
    <p:bodyStyle>
      <a:lvl1pPr eaLnBrk="1" hangingPunct="1">
        <a:defRPr>
          <a:solidFill>
            <a:srgbClr val="DE0073"/>
          </a:solidFill>
          <a:latin typeface="Trebuchet MS" pitchFamily="34" charset="0"/>
        </a:defRPr>
      </a:lvl1pPr>
      <a:lvl2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2pPr>
      <a:lvl3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3pPr>
      <a:lvl4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4pPr>
      <a:lvl5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4308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hf hdr="0" ftr="0" dt="0"/>
  <p:txStyles>
    <p:titleStyle>
      <a:lvl1pPr eaLnBrk="1" hangingPunct="1">
        <a:defRPr sz="2400">
          <a:solidFill>
            <a:srgbClr val="635D63"/>
          </a:solidFill>
          <a:latin typeface="Arial"/>
        </a:defRPr>
      </a:lvl1pPr>
    </p:titleStyle>
    <p:bodyStyle>
      <a:lvl1pPr eaLnBrk="1" hangingPunct="1">
        <a:defRPr>
          <a:solidFill>
            <a:srgbClr val="DE0073"/>
          </a:solidFill>
          <a:latin typeface="Trebuchet MS" pitchFamily="34" charset="0"/>
        </a:defRPr>
      </a:lvl1pPr>
      <a:lvl2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2pPr>
      <a:lvl3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3pPr>
      <a:lvl4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4pPr>
      <a:lvl5pPr eaLnBrk="1" hangingPunct="1">
        <a:defRPr sz="1600">
          <a:solidFill>
            <a:srgbClr val="635D63"/>
          </a:solidFill>
          <a:latin typeface="Arial" pitchFamily="34" charset="0"/>
          <a:cs typeface="Arial" pitchFamily="34" charset="0"/>
        </a:defRPr>
      </a:lvl5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12999" y="363790"/>
            <a:ext cx="8109507" cy="65482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l-NL" dirty="0"/>
              <a:t>Titelstijl van model 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14351" y="1181100"/>
            <a:ext cx="8108156" cy="3451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</a:t>
            </a:r>
            <a:r>
              <a:rPr lang="nl-NL" dirty="0"/>
              <a:t>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/>
              <a:t>Derde </a:t>
            </a:r>
            <a:r>
              <a:rPr lang="nl-NL" dirty="0"/>
              <a:t>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3619881" y="4767263"/>
            <a:ext cx="190423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15724C-C192-0B4B-BACC-F4624A2DDAF2}" type="datetimeFigureOut">
              <a:rPr lang="en-GB" smtClean="0"/>
              <a:pPr/>
              <a:t>19/09/2024</a:t>
            </a:fld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997197" y="4767263"/>
            <a:ext cx="314350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51300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BF4A6-40A7-E04A-A78B-7409A1BC41E0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Afbeelding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8506" y="4742184"/>
            <a:ext cx="324000" cy="324000"/>
          </a:xfrm>
          <a:prstGeom prst="rect">
            <a:avLst/>
          </a:prstGeom>
        </p:spPr>
      </p:pic>
      <p:pic>
        <p:nvPicPr>
          <p:cNvPr id="9" name="Afbeelding 8" descr="device2.ai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3790"/>
            <a:ext cx="465467" cy="432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17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0" kern="1200">
          <a:solidFill>
            <a:schemeClr val="accent3"/>
          </a:solidFill>
          <a:latin typeface="Trebuchet MS" charset="0"/>
          <a:ea typeface="Trebuchet MS" charset="0"/>
          <a:cs typeface="Trebuchet MS" charset="0"/>
        </a:defRPr>
      </a:lvl1pPr>
    </p:titleStyle>
    <p:bodyStyle>
      <a:lvl1pPr marL="270272" indent="-270000" algn="l" defTabSz="6858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2"/>
        </a:buClr>
        <a:buSzPct val="85000"/>
        <a:buFont typeface="Wingdings 2" panose="05020102010507070707" pitchFamily="18" charset="2"/>
        <a:buChar char="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0000" indent="-270000" algn="l" defTabSz="685800" rtl="0" eaLnBrk="1" latinLnBrk="0" hangingPunct="1">
        <a:lnSpc>
          <a:spcPct val="120000"/>
        </a:lnSpc>
        <a:spcBef>
          <a:spcPts val="0"/>
        </a:spcBef>
        <a:spcAft>
          <a:spcPts val="750"/>
        </a:spcAft>
        <a:buClr>
          <a:schemeClr val="bg2"/>
        </a:buClr>
        <a:buSzPct val="85000"/>
        <a:buFont typeface="Wingdings 2" panose="05020102010507070707" pitchFamily="18" charset="2"/>
        <a:buChar char="®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16000" algn="l" defTabSz="685800" rtl="0" eaLnBrk="1" latinLnBrk="0" hangingPunct="1">
        <a:lnSpc>
          <a:spcPct val="120000"/>
        </a:lnSpc>
        <a:spcBef>
          <a:spcPts val="0"/>
        </a:spcBef>
        <a:spcAft>
          <a:spcPts val="675"/>
        </a:spcAft>
        <a:buClr>
          <a:schemeClr val="tx1"/>
        </a:buClr>
        <a:buSzPct val="85000"/>
        <a:buFont typeface="Wingdings 2" panose="05020102010507070707" pitchFamily="18" charset="2"/>
        <a:buChar char="®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999000" indent="-189000" algn="l" defTabSz="6858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3"/>
        </a:buClr>
        <a:buSzPct val="85000"/>
        <a:buFont typeface="Wingdings 2" panose="05020102010507070707" pitchFamily="18" charset="2"/>
        <a:buChar char="®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000" indent="-189000" algn="l" defTabSz="6858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rgbClr val="8D8D8D"/>
        </a:buClr>
        <a:buSzPct val="85000"/>
        <a:buFont typeface="Wingdings 2" panose="05020102010507070707" pitchFamily="18" charset="2"/>
        <a:buChar char="®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l" defTabSz="685800" rtl="0" eaLnBrk="1" latinLnBrk="0" hangingPunct="1">
        <a:defRPr sz="1500" b="1" kern="1200" cap="all">
          <a:solidFill>
            <a:schemeClr val="tx1"/>
          </a:solidFill>
          <a:latin typeface="+mn-lt"/>
          <a:ea typeface="+mn-ea"/>
          <a:cs typeface="+mn-cs"/>
        </a:defRPr>
      </a:lvl2pPr>
      <a:lvl3pPr marL="0" algn="l" defTabSz="685800" rtl="0" eaLnBrk="1" latinLnBrk="0" hangingPunct="1">
        <a:defRPr sz="1200" kern="1200">
          <a:solidFill>
            <a:srgbClr val="A29DA2"/>
          </a:solidFill>
          <a:latin typeface="+mn-lt"/>
          <a:ea typeface="+mn-ea"/>
          <a:cs typeface="+mn-cs"/>
        </a:defRPr>
      </a:lvl3pPr>
      <a:lvl4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6858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7">
          <p15:clr>
            <a:srgbClr val="F26B43"/>
          </p15:clr>
        </p15:guide>
        <p15:guide id="2" pos="3840">
          <p15:clr>
            <a:srgbClr val="F26B43"/>
          </p15:clr>
        </p15:guide>
        <p15:guide id="3" pos="7242">
          <p15:clr>
            <a:srgbClr val="F26B43"/>
          </p15:clr>
        </p15:guide>
        <p15:guide id="4" pos="432">
          <p15:clr>
            <a:srgbClr val="F26B43"/>
          </p15:clr>
        </p15:guide>
        <p15:guide id="5" orient="horz" pos="3884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tekst 8"/>
          <p:cNvSpPr>
            <a:spLocks noGrp="1"/>
          </p:cNvSpPr>
          <p:nvPr>
            <p:ph type="body" sz="quarter" idx="12"/>
          </p:nvPr>
        </p:nvSpPr>
        <p:spPr>
          <a:xfrm>
            <a:off x="24011" y="2859782"/>
            <a:ext cx="7348284" cy="576064"/>
          </a:xfrm>
        </p:spPr>
        <p:txBody>
          <a:bodyPr/>
          <a:lstStyle/>
          <a:p>
            <a:r>
              <a:rPr lang="nl-NL" sz="1800" kern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omplexe risico-afwegingen in crisissituaties t.g.v. hoogwater</a:t>
            </a:r>
            <a:endParaRPr lang="nl-NL" sz="2000" dirty="0"/>
          </a:p>
        </p:txBody>
      </p:sp>
      <p:sp>
        <p:nvSpPr>
          <p:cNvPr id="7" name="Tijdelijke aanduiding voor tekst 7"/>
          <p:cNvSpPr>
            <a:spLocks noGrp="1"/>
          </p:cNvSpPr>
          <p:nvPr>
            <p:ph type="body" sz="quarter" idx="11"/>
          </p:nvPr>
        </p:nvSpPr>
        <p:spPr>
          <a:xfrm>
            <a:off x="250824" y="3795886"/>
            <a:ext cx="6265392" cy="1223488"/>
          </a:xfrm>
        </p:spPr>
        <p:txBody>
          <a:bodyPr/>
          <a:lstStyle/>
          <a:p>
            <a:r>
              <a:rPr lang="nl-NL" sz="1200" dirty="0"/>
              <a:t>Kevin Schiffeler (Technisch Expert / </a:t>
            </a:r>
            <a:r>
              <a:rPr lang="nl-NL" sz="1200" dirty="0" err="1"/>
              <a:t>OIV’er</a:t>
            </a:r>
            <a:r>
              <a:rPr lang="nl-NL" sz="1200" dirty="0"/>
              <a:t>) – Technische Expertise</a:t>
            </a:r>
          </a:p>
          <a:p>
            <a:r>
              <a:rPr lang="nl-NL" sz="1200" dirty="0"/>
              <a:t>Dave Eijkenboom (Asset Performance Engineer) - Asset Management </a:t>
            </a:r>
          </a:p>
          <a:p>
            <a:endParaRPr lang="nl-NL" sz="1200" b="0" dirty="0"/>
          </a:p>
          <a:p>
            <a:r>
              <a:rPr lang="en-US" sz="1100" b="0" dirty="0"/>
              <a:t>13 </a:t>
            </a:r>
            <a:r>
              <a:rPr lang="en-US" sz="1100" b="0" dirty="0" err="1"/>
              <a:t>september</a:t>
            </a:r>
            <a:r>
              <a:rPr lang="en-US" sz="1100" b="0" dirty="0"/>
              <a:t> 2024</a:t>
            </a:r>
            <a:endParaRPr lang="nl-NL" sz="1100" b="0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6336" y="4251729"/>
            <a:ext cx="1388098" cy="624277"/>
          </a:xfrm>
          <a:prstGeom prst="rect">
            <a:avLst/>
          </a:prstGeom>
        </p:spPr>
      </p:pic>
      <p:pic>
        <p:nvPicPr>
          <p:cNvPr id="1026" name="Picture 2" descr="Ksandr Live XL 2021 het volledige programma! - Ksandr">
            <a:extLst>
              <a:ext uri="{FF2B5EF4-FFF2-40B4-BE49-F238E27FC236}">
                <a16:creationId xmlns:a16="http://schemas.microsoft.com/office/drawing/2014/main" id="{5D8A9EC9-EBAA-DEB8-0198-723B0D1ED0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36" y="104202"/>
            <a:ext cx="4251940" cy="2034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782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A31573-4504-FFA5-C073-BC3C36940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213" y="195486"/>
            <a:ext cx="3960439" cy="523875"/>
          </a:xfrm>
        </p:spPr>
        <p:txBody>
          <a:bodyPr>
            <a:normAutofit/>
          </a:bodyPr>
          <a:lstStyle/>
          <a:p>
            <a:r>
              <a:rPr lang="nl-NL" sz="1400" dirty="0"/>
              <a:t>Open discussie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7808E14-4472-A60D-52E2-21E5EC0EE3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21116507">
            <a:off x="1050339" y="1385126"/>
            <a:ext cx="3743771" cy="359742"/>
          </a:xfrm>
        </p:spPr>
        <p:txBody>
          <a:bodyPr/>
          <a:lstStyle/>
          <a:p>
            <a:r>
              <a:rPr lang="nl-NL" sz="2000" dirty="0">
                <a:solidFill>
                  <a:srgbClr val="BDDB00"/>
                </a:solidFill>
              </a:rPr>
              <a:t>Hoe gaan jullie hier mee om?</a:t>
            </a:r>
          </a:p>
          <a:p>
            <a:endParaRPr lang="nl-NL" sz="1600" dirty="0">
              <a:solidFill>
                <a:srgbClr val="BDDB00"/>
              </a:solidFill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A1E3629B-0365-6B93-1C44-D43FA5CB1A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5275" y="51470"/>
            <a:ext cx="1228725" cy="523875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D36E70B8-85E9-22F8-A42E-4EDD0652FE9F}"/>
              </a:ext>
            </a:extLst>
          </p:cNvPr>
          <p:cNvSpPr txBox="1"/>
          <p:nvPr/>
        </p:nvSpPr>
        <p:spPr>
          <a:xfrm rot="439773">
            <a:off x="4383833" y="2262858"/>
            <a:ext cx="423376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2000" dirty="0">
                <a:latin typeface="+mn-lt"/>
              </a:rPr>
              <a:t>Hebben jullie een handelswijze?</a:t>
            </a:r>
          </a:p>
          <a:p>
            <a:endParaRPr lang="nl-NL" sz="2000" dirty="0">
              <a:latin typeface="+mn-lt"/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A44E039C-897F-E13C-DC8A-7BCCD3042CB6}"/>
              </a:ext>
            </a:extLst>
          </p:cNvPr>
          <p:cNvSpPr txBox="1"/>
          <p:nvPr/>
        </p:nvSpPr>
        <p:spPr>
          <a:xfrm rot="21078157">
            <a:off x="1358706" y="3325611"/>
            <a:ext cx="573214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2000" dirty="0">
                <a:solidFill>
                  <a:srgbClr val="635D63"/>
                </a:solidFill>
                <a:latin typeface="+mn-lt"/>
              </a:rPr>
              <a:t>Welke adviezen kunnen jullie ons meegeven voor dit vraagstuk?</a:t>
            </a:r>
          </a:p>
        </p:txBody>
      </p:sp>
    </p:spTree>
    <p:extLst>
      <p:ext uri="{BB962C8B-B14F-4D97-AF65-F5344CB8AC3E}">
        <p14:creationId xmlns:p14="http://schemas.microsoft.com/office/powerpoint/2010/main" val="154128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EBBEFD-1284-9AE7-9FB5-705EF3B89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8" y="246799"/>
            <a:ext cx="6913091" cy="648072"/>
          </a:xfrm>
        </p:spPr>
        <p:txBody>
          <a:bodyPr>
            <a:normAutofit fontScale="90000"/>
          </a:bodyPr>
          <a:lstStyle/>
          <a:p>
            <a:r>
              <a:rPr lang="nl-NL" sz="1600" dirty="0">
                <a:solidFill>
                  <a:srgbClr val="635D63"/>
                </a:solidFill>
              </a:rPr>
              <a:t>Ervaringen na het hoogwater in Limburg (zomer 2021) (Dave)</a:t>
            </a:r>
            <a:br>
              <a:rPr lang="nl-NL" sz="1600" dirty="0">
                <a:solidFill>
                  <a:srgbClr val="635D63"/>
                </a:solidFill>
              </a:rPr>
            </a:br>
            <a:endParaRPr lang="nl-NL" sz="1600" dirty="0">
              <a:solidFill>
                <a:srgbClr val="635D63"/>
              </a:solidFill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4E9D7A07-F679-8FF3-F0A5-2A9C07035F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0301" y="123478"/>
            <a:ext cx="1228725" cy="523875"/>
          </a:xfrm>
          <a:prstGeom prst="rect">
            <a:avLst/>
          </a:prstGeom>
        </p:spPr>
      </p:pic>
      <p:pic>
        <p:nvPicPr>
          <p:cNvPr id="2050" name="Picture 2" descr="Burgemeester Valkenburg over wateroverlast: 'Samen schouders eronder zetten'">
            <a:extLst>
              <a:ext uri="{FF2B5EF4-FFF2-40B4-BE49-F238E27FC236}">
                <a16:creationId xmlns:a16="http://schemas.microsoft.com/office/drawing/2014/main" id="{AD3E80DE-0CEC-E28B-5907-4B8BFA4175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800058"/>
            <a:ext cx="7272808" cy="4090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00368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EBBEFD-1284-9AE7-9FB5-705EF3B89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2041" y="123478"/>
            <a:ext cx="6913091" cy="879102"/>
          </a:xfrm>
        </p:spPr>
        <p:txBody>
          <a:bodyPr>
            <a:normAutofit/>
          </a:bodyPr>
          <a:lstStyle/>
          <a:p>
            <a:r>
              <a:rPr lang="nl-NL" sz="1600" dirty="0">
                <a:solidFill>
                  <a:srgbClr val="635D63"/>
                </a:solidFill>
              </a:rPr>
              <a:t>Elektriciteits- &amp; gasnet zijn behoorlijk goed bestand tegen overstromingen (Dave)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A3497A8-534F-6043-6828-E56B1DCD79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6470" y="1247153"/>
            <a:ext cx="4329435" cy="159771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200" dirty="0"/>
              <a:t>Hoogspanningsstations zijn gerealiseerd op hoger gelegen gronden en zijn bestand tegen </a:t>
            </a:r>
            <a:br>
              <a:rPr lang="nl-NL" sz="1200" dirty="0"/>
            </a:br>
            <a:r>
              <a:rPr lang="nl-NL" sz="1200" dirty="0"/>
              <a:t>overstrominge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200" dirty="0"/>
              <a:t>Netstations/LS-kasten zijn bestand tegen een </a:t>
            </a:r>
            <a:br>
              <a:rPr lang="nl-NL" sz="1200" dirty="0"/>
            </a:br>
            <a:r>
              <a:rPr lang="nl-NL" sz="1200" dirty="0"/>
              <a:t>bepaald aantal cm water, zonder uit te vallen. </a:t>
            </a:r>
            <a:br>
              <a:rPr lang="nl-NL" sz="1200" dirty="0"/>
            </a:br>
            <a:endParaRPr lang="nl-NL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200" b="1" dirty="0"/>
              <a:t>Het Elektriciteitsnet blijft in bedrijf bij ‘redelijke’ overstroming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200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2954858E-86E2-2EC9-9E8E-C9A085AABA1D}"/>
              </a:ext>
            </a:extLst>
          </p:cNvPr>
          <p:cNvSpPr txBox="1"/>
          <p:nvPr/>
        </p:nvSpPr>
        <p:spPr>
          <a:xfrm>
            <a:off x="546470" y="2844872"/>
            <a:ext cx="41358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200" dirty="0">
                <a:solidFill>
                  <a:srgbClr val="635D63"/>
                </a:solidFill>
                <a:latin typeface="+mn-lt"/>
              </a:rPr>
              <a:t>Voor het gasnetwerk is het belangrijk dat er druk op de gasleidingen blijft tijdens een overstroming om inwatering te voorkomen.</a:t>
            </a:r>
            <a:br>
              <a:rPr lang="nl-NL" sz="1200" dirty="0">
                <a:solidFill>
                  <a:srgbClr val="635D63"/>
                </a:solidFill>
                <a:latin typeface="+mn-lt"/>
              </a:rPr>
            </a:br>
            <a:endParaRPr lang="nl-NL" sz="1200" dirty="0">
              <a:solidFill>
                <a:srgbClr val="635D63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200" b="1" dirty="0">
                <a:solidFill>
                  <a:srgbClr val="635D63"/>
                </a:solidFill>
                <a:latin typeface="+mn-lt"/>
              </a:rPr>
              <a:t>Het gasnetwerk blijft ook in bedrijf bij ‘redelijke’ overstromingen.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4E9D7A07-F679-8FF3-F0A5-2A9C07035F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0301" y="123478"/>
            <a:ext cx="1228725" cy="523875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77663F4D-4F33-D3FC-24C2-3A988D0635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9228" y="1409123"/>
            <a:ext cx="4511788" cy="2541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435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C1488B-A17B-4EAC-9CAD-11642D261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9" y="108472"/>
            <a:ext cx="7220140" cy="735086"/>
          </a:xfrm>
        </p:spPr>
        <p:txBody>
          <a:bodyPr>
            <a:noAutofit/>
          </a:bodyPr>
          <a:lstStyle/>
          <a:p>
            <a:r>
              <a:rPr lang="nl-NL" sz="1400" dirty="0">
                <a:solidFill>
                  <a:srgbClr val="635D63"/>
                </a:solidFill>
                <a:latin typeface="+mn-lt"/>
              </a:rPr>
              <a:t>Afwegingen tijdens crisissituaties; </a:t>
            </a:r>
            <a:br>
              <a:rPr lang="nl-NL" sz="1400" dirty="0">
                <a:solidFill>
                  <a:srgbClr val="635D63"/>
                </a:solidFill>
                <a:latin typeface="+mn-lt"/>
              </a:rPr>
            </a:br>
            <a:r>
              <a:rPr lang="nl-NL" sz="1400" dirty="0">
                <a:solidFill>
                  <a:srgbClr val="635D63"/>
                </a:solidFill>
                <a:latin typeface="+mn-lt"/>
              </a:rPr>
              <a:t>wat te doen bij een (hele) grote overstroming (&gt;1 meter water)? (Kevin)</a:t>
            </a:r>
            <a:br>
              <a:rPr lang="nl-NL" sz="1400" dirty="0">
                <a:solidFill>
                  <a:srgbClr val="635D63"/>
                </a:solidFill>
                <a:latin typeface="+mn-lt"/>
              </a:rPr>
            </a:br>
            <a:endParaRPr lang="nl-NL" sz="1400" dirty="0">
              <a:solidFill>
                <a:srgbClr val="635D63"/>
              </a:solidFill>
              <a:latin typeface="+mn-lt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5401CB08-50EC-4759-80E6-894734179F20}"/>
              </a:ext>
            </a:extLst>
          </p:cNvPr>
          <p:cNvSpPr txBox="1"/>
          <p:nvPr/>
        </p:nvSpPr>
        <p:spPr>
          <a:xfrm>
            <a:off x="678261" y="843558"/>
            <a:ext cx="799288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200" dirty="0">
                <a:solidFill>
                  <a:srgbClr val="635D63"/>
                </a:solidFill>
                <a:latin typeface="+mn-lt"/>
              </a:rPr>
              <a:t>Primaire risico’s (</a:t>
            </a:r>
            <a:r>
              <a:rPr lang="nl-NL" sz="1200" i="1" dirty="0">
                <a:solidFill>
                  <a:srgbClr val="635D63"/>
                </a:solidFill>
                <a:latin typeface="+mn-lt"/>
              </a:rPr>
              <a:t>direct gevolg van situatie</a:t>
            </a:r>
            <a:r>
              <a:rPr lang="nl-NL" sz="1200" dirty="0">
                <a:solidFill>
                  <a:srgbClr val="635D63"/>
                </a:solidFill>
                <a:latin typeface="+mn-lt"/>
              </a:rPr>
              <a:t>) 		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nl-NL" sz="1200" dirty="0">
              <a:solidFill>
                <a:srgbClr val="635D63"/>
              </a:solidFill>
              <a:latin typeface="+mn-lt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nl-NL" sz="1200" dirty="0">
              <a:solidFill>
                <a:srgbClr val="635D63"/>
              </a:solidFill>
              <a:latin typeface="+mn-lt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200" dirty="0">
                <a:solidFill>
                  <a:srgbClr val="635D63"/>
                </a:solidFill>
                <a:latin typeface="+mn-lt"/>
              </a:rPr>
              <a:t>Secundaire risico’s </a:t>
            </a:r>
            <a:br>
              <a:rPr lang="nl-NL" sz="1200" dirty="0">
                <a:solidFill>
                  <a:srgbClr val="635D63"/>
                </a:solidFill>
                <a:latin typeface="+mn-lt"/>
              </a:rPr>
            </a:br>
            <a:r>
              <a:rPr lang="nl-NL" sz="1200" dirty="0">
                <a:solidFill>
                  <a:srgbClr val="635D63"/>
                </a:solidFill>
                <a:latin typeface="+mn-lt"/>
              </a:rPr>
              <a:t>(</a:t>
            </a:r>
            <a:r>
              <a:rPr lang="nl-NL" sz="1200" i="1" dirty="0">
                <a:solidFill>
                  <a:srgbClr val="635D63"/>
                </a:solidFill>
                <a:latin typeface="+mn-lt"/>
              </a:rPr>
              <a:t>mogelijk gevolg door handelingen t.g.v. primair risico</a:t>
            </a:r>
            <a:r>
              <a:rPr lang="nl-NL" sz="1200" dirty="0">
                <a:solidFill>
                  <a:srgbClr val="635D63"/>
                </a:solidFill>
                <a:latin typeface="+mn-lt"/>
              </a:rPr>
              <a:t>)</a:t>
            </a:r>
            <a:br>
              <a:rPr lang="nl-NL" sz="1200" dirty="0">
                <a:solidFill>
                  <a:srgbClr val="635D63"/>
                </a:solidFill>
                <a:latin typeface="+mn-lt"/>
              </a:rPr>
            </a:br>
            <a:br>
              <a:rPr lang="nl-NL" sz="1200" dirty="0">
                <a:solidFill>
                  <a:srgbClr val="635D63"/>
                </a:solidFill>
                <a:latin typeface="+mn-lt"/>
              </a:rPr>
            </a:br>
            <a:endParaRPr lang="nl-NL" sz="1200" dirty="0">
              <a:solidFill>
                <a:srgbClr val="635D63"/>
              </a:solidFill>
              <a:latin typeface="+mn-lt"/>
            </a:endParaRPr>
          </a:p>
          <a:p>
            <a:br>
              <a:rPr lang="nl-NL" sz="1200" dirty="0">
                <a:solidFill>
                  <a:srgbClr val="635D63"/>
                </a:solidFill>
                <a:latin typeface="+mn-lt"/>
              </a:rPr>
            </a:br>
            <a:endParaRPr lang="nl-NL" sz="1200" dirty="0">
              <a:solidFill>
                <a:srgbClr val="635D63"/>
              </a:solidFill>
              <a:latin typeface="+mn-lt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DB6DE4A8-BE32-96FE-A622-C42FE30AA2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3709" y="51470"/>
            <a:ext cx="1228725" cy="523875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0688BDD4-19B0-133E-6DCE-4289E44A91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8909" y="2211710"/>
            <a:ext cx="3728986" cy="208823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943A04D5-9D43-2BCF-EC41-EDA7BAEA64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543" y="2213600"/>
            <a:ext cx="3708000" cy="2086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1403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C1488B-A17B-4EAC-9CAD-11642D261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261" y="195486"/>
            <a:ext cx="6270004" cy="573716"/>
          </a:xfrm>
        </p:spPr>
        <p:txBody>
          <a:bodyPr>
            <a:normAutofit fontScale="90000"/>
          </a:bodyPr>
          <a:lstStyle/>
          <a:p>
            <a:r>
              <a:rPr lang="nl-NL" sz="1400" dirty="0">
                <a:solidFill>
                  <a:srgbClr val="635D63"/>
                </a:solidFill>
              </a:rPr>
              <a:t>Wat is het risico op elektrocutie voor omstaanders en medewerkers bij hoogwater/overstroming? (Dave)</a:t>
            </a:r>
            <a:endParaRPr lang="nl-NL" sz="1800" dirty="0">
              <a:solidFill>
                <a:srgbClr val="635D63"/>
              </a:solidFill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FB727BEF-F02B-CF8B-7330-D378B257FC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8375" y="53818"/>
            <a:ext cx="1345625" cy="573716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59259253-151F-DB18-7151-3C06A9EEA4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52" y="1032548"/>
            <a:ext cx="2024207" cy="3035718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91629111-A238-47BC-14E9-3926244DCF0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46981" y="1032549"/>
            <a:ext cx="2024206" cy="3035717"/>
          </a:xfrm>
          <a:prstGeom prst="rect">
            <a:avLst/>
          </a:prstGeom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E34F5ACE-8EEF-9165-9B49-7B96AA4F3DA5}"/>
              </a:ext>
            </a:extLst>
          </p:cNvPr>
          <p:cNvSpPr txBox="1"/>
          <p:nvPr/>
        </p:nvSpPr>
        <p:spPr>
          <a:xfrm>
            <a:off x="800327" y="1756141"/>
            <a:ext cx="3955796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600" b="1" dirty="0">
                <a:solidFill>
                  <a:srgbClr val="635D63"/>
                </a:solidFill>
                <a:latin typeface="+mn-lt"/>
              </a:rPr>
              <a:t>Onderzoek primair risico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400" dirty="0">
                <a:solidFill>
                  <a:srgbClr val="635D63"/>
                </a:solidFill>
                <a:latin typeface="+mn-lt"/>
              </a:rPr>
              <a:t>Stroomsterkt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400" dirty="0">
                <a:solidFill>
                  <a:srgbClr val="635D63"/>
                </a:solidFill>
                <a:latin typeface="+mn-lt"/>
              </a:rPr>
              <a:t>Afstand tot br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400" dirty="0">
                <a:solidFill>
                  <a:srgbClr val="635D63"/>
                </a:solidFill>
                <a:latin typeface="+mn-lt"/>
              </a:rPr>
              <a:t>Waterhoogt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400" dirty="0">
                <a:solidFill>
                  <a:srgbClr val="635D63"/>
                </a:solidFill>
                <a:latin typeface="+mn-lt"/>
              </a:rPr>
              <a:t>Zout of zoet wat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400" dirty="0">
                <a:solidFill>
                  <a:srgbClr val="635D63"/>
                </a:solidFill>
                <a:latin typeface="+mn-lt"/>
              </a:rPr>
              <a:t>Stijgend of stromend wat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NL" sz="1400" dirty="0">
                <a:solidFill>
                  <a:srgbClr val="635D63"/>
                </a:solidFill>
                <a:latin typeface="+mn-lt"/>
              </a:rPr>
              <a:t>Etc.</a:t>
            </a:r>
            <a:endParaRPr lang="nl-NL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3626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C1488B-A17B-4EAC-9CAD-11642D261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261" y="185577"/>
            <a:ext cx="4464495" cy="523875"/>
          </a:xfrm>
        </p:spPr>
        <p:txBody>
          <a:bodyPr>
            <a:normAutofit/>
          </a:bodyPr>
          <a:lstStyle/>
          <a:p>
            <a:r>
              <a:rPr lang="nl-NL" sz="1400" dirty="0">
                <a:solidFill>
                  <a:srgbClr val="635D63"/>
                </a:solidFill>
              </a:rPr>
              <a:t>Toekomstige behoefte! (Kevin)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5401CB08-50EC-4759-80E6-894734179F20}"/>
              </a:ext>
            </a:extLst>
          </p:cNvPr>
          <p:cNvSpPr txBox="1"/>
          <p:nvPr/>
        </p:nvSpPr>
        <p:spPr>
          <a:xfrm>
            <a:off x="547820" y="844046"/>
            <a:ext cx="59426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200" dirty="0">
                <a:solidFill>
                  <a:srgbClr val="635D63"/>
                </a:solidFill>
                <a:effectLst/>
                <a:latin typeface="+mn-lt"/>
                <a:ea typeface="Calibri" panose="020F0502020204030204" pitchFamily="34" charset="0"/>
              </a:rPr>
              <a:t>Duidelijk afwegingskader voor primaire en secundaire risico’s.</a:t>
            </a:r>
          </a:p>
          <a:p>
            <a:endParaRPr lang="nl-NL" sz="1200" dirty="0">
              <a:solidFill>
                <a:srgbClr val="635D63"/>
              </a:solidFill>
              <a:latin typeface="+mn-lt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nl-NL" sz="1200" dirty="0">
                <a:solidFill>
                  <a:srgbClr val="635D63"/>
                </a:solidFill>
                <a:effectLst/>
                <a:latin typeface="+mn-lt"/>
                <a:ea typeface="Calibri" panose="020F0502020204030204" pitchFamily="34" charset="0"/>
              </a:rPr>
              <a:t>(Nog) Betere samenwerking </a:t>
            </a:r>
            <a:r>
              <a:rPr lang="nl-NL" sz="1200" dirty="0">
                <a:solidFill>
                  <a:srgbClr val="635D63"/>
                </a:solidFill>
                <a:latin typeface="+mn-lt"/>
                <a:ea typeface="Calibri" panose="020F0502020204030204" pitchFamily="34" charset="0"/>
              </a:rPr>
              <a:t>tussen netbeheerders, overheden en hulpdiensten.</a:t>
            </a:r>
            <a:endParaRPr lang="nl-NL" sz="1200" dirty="0">
              <a:solidFill>
                <a:srgbClr val="635D63"/>
              </a:solidFill>
              <a:effectLst/>
              <a:latin typeface="+mn-lt"/>
              <a:ea typeface="Calibri" panose="020F0502020204030204" pitchFamily="34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3BD41BC0-D186-D390-E158-7BD7B5D82C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3591" y="29245"/>
            <a:ext cx="1228725" cy="523875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7FDF6AC9-D0E8-F716-2ECC-C3D36CC183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0651" y="2363636"/>
            <a:ext cx="2869773" cy="2152330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34EDE709-954D-EBFB-636A-75BBF0F55A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783" y="1080120"/>
            <a:ext cx="2291012" cy="3435846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06D148C8-0118-41ED-7EBE-324A8FA03F2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00" y="2363636"/>
            <a:ext cx="3227864" cy="2152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169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exis Presentatie sjabloon 11-4-2013">
  <a:themeElements>
    <a:clrScheme name="Aangepast 4">
      <a:dk1>
        <a:srgbClr val="DE0073"/>
      </a:dk1>
      <a:lt1>
        <a:srgbClr val="FFFFFF"/>
      </a:lt1>
      <a:dk2>
        <a:srgbClr val="635D63"/>
      </a:dk2>
      <a:lt2>
        <a:srgbClr val="FFFFFF"/>
      </a:lt2>
      <a:accent1>
        <a:srgbClr val="BEDC00"/>
      </a:accent1>
      <a:accent2>
        <a:srgbClr val="DE0073"/>
      </a:accent2>
      <a:accent3>
        <a:srgbClr val="635D63"/>
      </a:accent3>
      <a:accent4>
        <a:srgbClr val="D7E966"/>
      </a:accent4>
      <a:accent5>
        <a:srgbClr val="EB66AB"/>
      </a:accent5>
      <a:accent6>
        <a:srgbClr val="A5A2A5"/>
      </a:accent6>
      <a:hlink>
        <a:srgbClr val="DE0073"/>
      </a:hlink>
      <a:folHlink>
        <a:srgbClr val="BEDC00"/>
      </a:folHlink>
    </a:clrScheme>
    <a:fontScheme name="Office - klassiek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exis Presentatie sjabloon_Netbeheer_07.potx" id="{60E5B1C0-1A91-49B7-B475-631A853A4B15}" vid="{36317F89-2282-47F5-8333-22203BD6B9D8}"/>
    </a:ext>
  </a:extLst>
</a:theme>
</file>

<file path=ppt/theme/theme2.xml><?xml version="1.0" encoding="utf-8"?>
<a:theme xmlns:a="http://schemas.openxmlformats.org/drawingml/2006/main" name="1_Enexis Presentatie sjabloon 11-4-2013">
  <a:themeElements>
    <a:clrScheme name="Enexis">
      <a:dk1>
        <a:srgbClr val="DE0073"/>
      </a:dk1>
      <a:lt1>
        <a:srgbClr val="FFFFFF"/>
      </a:lt1>
      <a:dk2>
        <a:srgbClr val="635D63"/>
      </a:dk2>
      <a:lt2>
        <a:srgbClr val="FFFFFF"/>
      </a:lt2>
      <a:accent1>
        <a:srgbClr val="BEDC00"/>
      </a:accent1>
      <a:accent2>
        <a:srgbClr val="DE0073"/>
      </a:accent2>
      <a:accent3>
        <a:srgbClr val="635D63"/>
      </a:accent3>
      <a:accent4>
        <a:srgbClr val="D7E966"/>
      </a:accent4>
      <a:accent5>
        <a:srgbClr val="EB66AB"/>
      </a:accent5>
      <a:accent6>
        <a:srgbClr val="A5A2A5"/>
      </a:accent6>
      <a:hlink>
        <a:srgbClr val="DE0073"/>
      </a:hlink>
      <a:folHlink>
        <a:srgbClr val="BEDC00"/>
      </a:folHlink>
    </a:clrScheme>
    <a:fontScheme name="Office - klassiek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Enexis Presentatie sjabloon 11-4-2013">
  <a:themeElements>
    <a:clrScheme name="Aangepast 4">
      <a:dk1>
        <a:srgbClr val="DE0073"/>
      </a:dk1>
      <a:lt1>
        <a:srgbClr val="FFFFFF"/>
      </a:lt1>
      <a:dk2>
        <a:srgbClr val="635D63"/>
      </a:dk2>
      <a:lt2>
        <a:srgbClr val="FFFFFF"/>
      </a:lt2>
      <a:accent1>
        <a:srgbClr val="BEDC00"/>
      </a:accent1>
      <a:accent2>
        <a:srgbClr val="DE0073"/>
      </a:accent2>
      <a:accent3>
        <a:srgbClr val="635D63"/>
      </a:accent3>
      <a:accent4>
        <a:srgbClr val="D7E966"/>
      </a:accent4>
      <a:accent5>
        <a:srgbClr val="EB66AB"/>
      </a:accent5>
      <a:accent6>
        <a:srgbClr val="A5A2A5"/>
      </a:accent6>
      <a:hlink>
        <a:srgbClr val="DE0073"/>
      </a:hlink>
      <a:folHlink>
        <a:srgbClr val="BEDC00"/>
      </a:folHlink>
    </a:clrScheme>
    <a:fontScheme name="Office - klassiek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Enexis Netbeheer">
  <a:themeElements>
    <a:clrScheme name="netbeheer 1">
      <a:dk1>
        <a:srgbClr val="635D63"/>
      </a:dk1>
      <a:lt1>
        <a:srgbClr val="FFFFFF"/>
      </a:lt1>
      <a:dk2>
        <a:srgbClr val="DE0073"/>
      </a:dk2>
      <a:lt2>
        <a:srgbClr val="BDDB00"/>
      </a:lt2>
      <a:accent1>
        <a:srgbClr val="BDDA00"/>
      </a:accent1>
      <a:accent2>
        <a:srgbClr val="DE0073"/>
      </a:accent2>
      <a:accent3>
        <a:srgbClr val="635D63"/>
      </a:accent3>
      <a:accent4>
        <a:srgbClr val="3C3C3F"/>
      </a:accent4>
      <a:accent5>
        <a:srgbClr val="8D8D8D"/>
      </a:accent5>
      <a:accent6>
        <a:srgbClr val="008FD3"/>
      </a:accent6>
      <a:hlink>
        <a:srgbClr val="008FD3"/>
      </a:hlink>
      <a:folHlink>
        <a:srgbClr val="A6127F"/>
      </a:folHlink>
    </a:clrScheme>
    <a:fontScheme name="Enexis">
      <a:majorFont>
        <a:latin typeface="Trebuchet MS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 marL="36000" indent="-252000">
          <a:spcAft>
            <a:spcPts val="600"/>
          </a:spcAft>
          <a:buClr>
            <a:schemeClr val="tx2"/>
          </a:buClr>
          <a:buFont typeface=".LucidaGrandeUI" charset="0"/>
          <a:buChar char="◆"/>
          <a:defRPr dirty="0" smtClean="0"/>
        </a:defPPr>
      </a:lstStyle>
    </a:txDef>
  </a:objectDefaults>
  <a:extraClrSchemeLst/>
  <a:custClrLst>
    <a:custClr name="Cool Gray">
      <a:srgbClr val="635D63"/>
    </a:custClr>
    <a:custClr name="Lime">
      <a:srgbClr val="BDDB00"/>
    </a:custClr>
    <a:custClr name="Magenta">
      <a:srgbClr val="DE0073"/>
    </a:custClr>
    <a:custClr name="White">
      <a:srgbClr val="FFFFFF"/>
    </a:custClr>
    <a:custClr name="Magenta 1">
      <a:srgbClr val="A61380"/>
    </a:custClr>
    <a:custClr name="Magenta 2">
      <a:srgbClr val="BF027F"/>
    </a:custClr>
    <a:custClr name="Magenta 3">
      <a:srgbClr val="F087B6"/>
    </a:custClr>
    <a:custClr name="Lime 1">
      <a:srgbClr val="8CBE20"/>
    </a:custClr>
    <a:custClr name="Lime 2">
      <a:srgbClr val="A7C70E"/>
    </a:custClr>
    <a:custClr name="Lime 3">
      <a:srgbClr val="DBE466"/>
    </a:custClr>
    <a:custClr name="Cool Gray 11">
      <a:srgbClr val="3D3C3F"/>
    </a:custClr>
    <a:custClr name="Cool Gray 6">
      <a:srgbClr val="8D8D8D"/>
    </a:custClr>
    <a:custClr name="Cool Gray 3">
      <a:srgbClr val="CCCCCC"/>
    </a:custClr>
    <a:custClr name="Cool Gray 1">
      <a:srgbClr val="DFDFDF"/>
    </a:custClr>
    <a:custClr name="Light Gray">
      <a:srgbClr val="EFEFEF"/>
    </a:custClr>
    <a:custClr name="Cyaan">
      <a:srgbClr val="04BBEE"/>
    </a:custClr>
  </a:custClrLst>
  <a:extLst>
    <a:ext uri="{05A4C25C-085E-4340-85A3-A5531E510DB2}">
      <thm15:themeFamily xmlns:thm15="http://schemas.microsoft.com/office/thememl/2012/main" name="Presentatie1" id="{D0C2F9F9-EFE1-4C51-8656-013B0FE3B00F}" vid="{39575DF7-48B8-4620-807C-1723E6E144E6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nexi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7DA7778B38374396ADA1A6E6B8901D" ma:contentTypeVersion="18" ma:contentTypeDescription="Een nieuw document maken." ma:contentTypeScope="" ma:versionID="d36eec77fe95d6f8e80624d57df499b1">
  <xsd:schema xmlns:xsd="http://www.w3.org/2001/XMLSchema" xmlns:xs="http://www.w3.org/2001/XMLSchema" xmlns:p="http://schemas.microsoft.com/office/2006/metadata/properties" xmlns:ns2="ba4b7d8f-b6e1-4948-8ee7-d8ad26a33acb" xmlns:ns3="d3286700-779e-4ff9-aab9-e522a4c1b3e6" targetNamespace="http://schemas.microsoft.com/office/2006/metadata/properties" ma:root="true" ma:fieldsID="38faaac481e730f4034f98d2a68afc9a" ns2:_="" ns3:_="">
    <xsd:import namespace="ba4b7d8f-b6e1-4948-8ee7-d8ad26a33acb"/>
    <xsd:import namespace="d3286700-779e-4ff9-aab9-e522a4c1b3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4b7d8f-b6e1-4948-8ee7-d8ad26a33a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36f9fb3d-e9f8-4c68-be72-4359417e0cd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286700-779e-4ff9-aab9-e522a4c1b3e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0d6cb46-5266-4377-817f-7291985ca7d5}" ma:internalName="TaxCatchAll" ma:showField="CatchAllData" ma:web="d3286700-779e-4ff9-aab9-e522a4c1b3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3286700-779e-4ff9-aab9-e522a4c1b3e6" xsi:nil="true"/>
    <lcf76f155ced4ddcb4097134ff3c332f xmlns="ba4b7d8f-b6e1-4948-8ee7-d8ad26a33acb">
      <Terms xmlns="http://schemas.microsoft.com/office/infopath/2007/PartnerControls"/>
    </lcf76f155ced4ddcb4097134ff3c332f>
  </documentManagement>
</p:properties>
</file>

<file path=customXml/item4.xml><?xml version="1.0" encoding="utf-8"?>
<?mso-contentType ?>
<SharedContentType xmlns="Microsoft.SharePoint.Taxonomy.ContentTypeSync" SourceId="cbfbc5c3-60d0-4420-b99b-f454b4e667cd" ContentTypeId="0x0101" PreviousValue="false"/>
</file>

<file path=customXml/itemProps1.xml><?xml version="1.0" encoding="utf-8"?>
<ds:datastoreItem xmlns:ds="http://schemas.openxmlformats.org/officeDocument/2006/customXml" ds:itemID="{593CD2BB-269F-4ED6-9E64-0B7F82E7FD12}"/>
</file>

<file path=customXml/itemProps2.xml><?xml version="1.0" encoding="utf-8"?>
<ds:datastoreItem xmlns:ds="http://schemas.openxmlformats.org/officeDocument/2006/customXml" ds:itemID="{BE3C27D6-3E52-4886-A36D-C670D561D7F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BBADC2-C30D-498E-A22E-0166319F3A31}">
  <ds:schemaRefs>
    <ds:schemaRef ds:uri="http://schemas.microsoft.com/office/2006/metadata/properties"/>
    <ds:schemaRef ds:uri="http://schemas.microsoft.com/office/infopath/2007/PartnerControls"/>
    <ds:schemaRef ds:uri="324e097d-bb88-4fe7-853d-3bbce479f7c0"/>
  </ds:schemaRefs>
</ds:datastoreItem>
</file>

<file path=customXml/itemProps4.xml><?xml version="1.0" encoding="utf-8"?>
<ds:datastoreItem xmlns:ds="http://schemas.openxmlformats.org/officeDocument/2006/customXml" ds:itemID="{0A76217D-2EA6-47A4-A36C-108AE1BC3E69}">
  <ds:schemaRefs>
    <ds:schemaRef ds:uri="Microsoft.SharePoint.Taxonomy.ContentTypeSync"/>
  </ds:schemaRefs>
</ds:datastoreItem>
</file>

<file path=docMetadata/LabelInfo.xml><?xml version="1.0" encoding="utf-8"?>
<clbl:labelList xmlns:clbl="http://schemas.microsoft.com/office/2020/mipLabelMetadata">
  <clbl:label id="{ad89fa4f-e4a0-4ddb-9d18-f7eeec649ffc}" enabled="0" method="" siteId="{ad89fa4f-e4a0-4ddb-9d18-f7eeec649ff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resentatie</Template>
  <TotalTime>14425</TotalTime>
  <Words>286</Words>
  <Application>Microsoft Office PowerPoint</Application>
  <PresentationFormat>Diavoorstelling (16:9)</PresentationFormat>
  <Paragraphs>41</Paragraphs>
  <Slides>7</Slides>
  <Notes>7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19" baseType="lpstr">
      <vt:lpstr>.LucidaGrandeUI</vt:lpstr>
      <vt:lpstr>Arial</vt:lpstr>
      <vt:lpstr>Courier New</vt:lpstr>
      <vt:lpstr>Trebuchet MS</vt:lpstr>
      <vt:lpstr>Verdana</vt:lpstr>
      <vt:lpstr>Wingdings</vt:lpstr>
      <vt:lpstr>Wingdings 2</vt:lpstr>
      <vt:lpstr>Enexis Presentatie sjabloon 11-4-2013</vt:lpstr>
      <vt:lpstr>1_Enexis Presentatie sjabloon 11-4-2013</vt:lpstr>
      <vt:lpstr>2_Enexis Presentatie sjabloon 11-4-2013</vt:lpstr>
      <vt:lpstr>Enexis Netbeheer</vt:lpstr>
      <vt:lpstr>think-cell Slide</vt:lpstr>
      <vt:lpstr>PowerPoint-presentatie</vt:lpstr>
      <vt:lpstr>Open discussie</vt:lpstr>
      <vt:lpstr>Ervaringen na het hoogwater in Limburg (zomer 2021) (Dave) </vt:lpstr>
      <vt:lpstr>Elektriciteits- &amp; gasnet zijn behoorlijk goed bestand tegen overstromingen (Dave)</vt:lpstr>
      <vt:lpstr>Afwegingen tijdens crisissituaties;  wat te doen bij een (hele) grote overstroming (&gt;1 meter water)? (Kevin) </vt:lpstr>
      <vt:lpstr>Wat is het risico op elektrocutie voor omstaanders en medewerkers bij hoogwater/overstroming? (Dave)</vt:lpstr>
      <vt:lpstr>Toekomstige behoefte! (Kevin)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Raayen, Kevin</dc:creator>
  <cp:lastModifiedBy>Eijkenboom, Dave</cp:lastModifiedBy>
  <cp:revision>263</cp:revision>
  <cp:lastPrinted>2017-01-10T09:45:33Z</cp:lastPrinted>
  <dcterms:created xsi:type="dcterms:W3CDTF">2017-11-09T08:50:03Z</dcterms:created>
  <dcterms:modified xsi:type="dcterms:W3CDTF">2024-09-19T13:4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Backgrounds">
    <vt:lpwstr>0</vt:lpwstr>
  </property>
  <property fmtid="{D5CDD505-2E9C-101B-9397-08002B2CF9AE}" pid="3" name="prClassification">
    <vt:lpwstr>Geen</vt:lpwstr>
  </property>
  <property fmtid="{D5CDD505-2E9C-101B-9397-08002B2CF9AE}" pid="4" name="prDocument_language">
    <vt:lpwstr>Nederlands</vt:lpwstr>
  </property>
  <property fmtid="{D5CDD505-2E9C-101B-9397-08002B2CF9AE}" pid="5" name="prDate">
    <vt:lpwstr>8-11-2012</vt:lpwstr>
  </property>
  <property fmtid="{D5CDD505-2E9C-101B-9397-08002B2CF9AE}" pid="6" name="prPrint_date">
    <vt:lpwstr>No</vt:lpwstr>
  </property>
  <property fmtid="{D5CDD505-2E9C-101B-9397-08002B2CF9AE}" pid="7" name="prTitle">
    <vt:lpwstr>de titel</vt:lpwstr>
  </property>
  <property fmtid="{D5CDD505-2E9C-101B-9397-08002B2CF9AE}" pid="8" name="prSubtitle">
    <vt:lpwstr>subtitel</vt:lpwstr>
  </property>
  <property fmtid="{D5CDD505-2E9C-101B-9397-08002B2CF9AE}" pid="9" name="prSpeaker">
    <vt:lpwstr>spreker</vt:lpwstr>
  </property>
  <property fmtid="{D5CDD505-2E9C-101B-9397-08002B2CF9AE}" pid="10" name="prCompany_department">
    <vt:lpwstr>afdeling</vt:lpwstr>
  </property>
  <property fmtid="{D5CDD505-2E9C-101B-9397-08002B2CF9AE}" pid="11" name="prVersion">
    <vt:lpwstr>versie</vt:lpwstr>
  </property>
  <property fmtid="{D5CDD505-2E9C-101B-9397-08002B2CF9AE}" pid="12" name="prExtra_image">
    <vt:lpwstr/>
  </property>
  <property fmtid="{D5CDD505-2E9C-101B-9397-08002B2CF9AE}" pid="13" name="clientname">
    <vt:lpwstr>Enexis</vt:lpwstr>
  </property>
  <property fmtid="{D5CDD505-2E9C-101B-9397-08002B2CF9AE}" pid="14" name="sld1">
    <vt:lpwstr>259</vt:lpwstr>
  </property>
  <property fmtid="{D5CDD505-2E9C-101B-9397-08002B2CF9AE}" pid="15" name="doctype">
    <vt:lpwstr>Regular</vt:lpwstr>
  </property>
  <property fmtid="{D5CDD505-2E9C-101B-9397-08002B2CF9AE}" pid="16" name="cldocument">
    <vt:lpwstr>1043</vt:lpwstr>
  </property>
  <property fmtid="{D5CDD505-2E9C-101B-9397-08002B2CF9AE}" pid="17" name="sld2">
    <vt:lpwstr>256</vt:lpwstr>
  </property>
  <property fmtid="{D5CDD505-2E9C-101B-9397-08002B2CF9AE}" pid="18" name="s264">
    <vt:lpwstr>1</vt:lpwstr>
  </property>
  <property fmtid="{D5CDD505-2E9C-101B-9397-08002B2CF9AE}" pid="19" name="s265">
    <vt:lpwstr>0</vt:lpwstr>
  </property>
  <property fmtid="{D5CDD505-2E9C-101B-9397-08002B2CF9AE}" pid="20" name="ContentTypeId">
    <vt:lpwstr>0x010100E69A394DC3E0D14EAD8DD60C8681B71F</vt:lpwstr>
  </property>
  <property fmtid="{D5CDD505-2E9C-101B-9397-08002B2CF9AE}" pid="21" name="Order">
    <vt:r8>1300</vt:r8>
  </property>
  <property fmtid="{D5CDD505-2E9C-101B-9397-08002B2CF9AE}" pid="22" name="Categorie">
    <vt:lpwstr>Test</vt:lpwstr>
  </property>
</Properties>
</file>